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4B183"/>
    <a:srgbClr val="EC7320"/>
    <a:srgbClr val="E16815"/>
    <a:srgbClr val="C45A12"/>
    <a:srgbClr val="FFD966"/>
    <a:srgbClr val="F8CBAD"/>
    <a:srgbClr val="F29B60"/>
    <a:srgbClr val="F2A36E"/>
    <a:srgbClr val="00A4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6" d="100"/>
          <a:sy n="76" d="100"/>
        </p:scale>
        <p:origin x="696"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5E0DD0-7580-4228-BE20-FE9ACE16376D}"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E1DDC8F4-43A3-4F52-B045-4D8E22AC255A}">
      <dgm:prSet phldrT="[Text]"/>
      <dgm:spPr>
        <a:solidFill>
          <a:srgbClr val="C00000"/>
        </a:solidFill>
        <a:ln>
          <a:noFill/>
        </a:ln>
      </dgm:spPr>
      <dgm:t>
        <a:bodyPr/>
        <a:lstStyle/>
        <a:p>
          <a:r>
            <a:rPr lang="en-US" b="0" i="0" dirty="0" smtClean="0"/>
            <a:t>Frequent regression testing</a:t>
          </a:r>
          <a:endParaRPr lang="en-US" dirty="0"/>
        </a:p>
      </dgm:t>
    </dgm:pt>
    <dgm:pt modelId="{BA99E971-7625-454B-B0B6-6DAD847AAC0B}" type="parTrans" cxnId="{28A29551-928A-4AD5-B0B8-65EC0110420F}">
      <dgm:prSet/>
      <dgm:spPr/>
      <dgm:t>
        <a:bodyPr/>
        <a:lstStyle/>
        <a:p>
          <a:endParaRPr lang="en-US"/>
        </a:p>
      </dgm:t>
    </dgm:pt>
    <dgm:pt modelId="{D2F96B57-4D00-4B19-BEA9-6753F75BFB58}" type="sibTrans" cxnId="{28A29551-928A-4AD5-B0B8-65EC0110420F}">
      <dgm:prSet/>
      <dgm:spPr/>
      <dgm:t>
        <a:bodyPr/>
        <a:lstStyle/>
        <a:p>
          <a:endParaRPr lang="en-US"/>
        </a:p>
      </dgm:t>
    </dgm:pt>
    <dgm:pt modelId="{21C537C7-B19F-4080-A1C3-77EC94F5BBAB}">
      <dgm:prSet phldrT="[Text]"/>
      <dgm:spPr>
        <a:solidFill>
          <a:srgbClr val="FFC000"/>
        </a:solidFill>
        <a:ln>
          <a:noFill/>
        </a:ln>
      </dgm:spPr>
      <dgm:t>
        <a:bodyPr/>
        <a:lstStyle/>
        <a:p>
          <a:r>
            <a:rPr lang="en-US" b="0" i="0" dirty="0" smtClean="0"/>
            <a:t>Rapid feedback to developers</a:t>
          </a:r>
          <a:endParaRPr lang="en-US" dirty="0"/>
        </a:p>
      </dgm:t>
    </dgm:pt>
    <dgm:pt modelId="{6625F26D-E780-40CA-9D72-0395653E47E7}" type="parTrans" cxnId="{7B7708B3-3D60-4404-AAB6-51F5F559B2E5}">
      <dgm:prSet/>
      <dgm:spPr/>
      <dgm:t>
        <a:bodyPr/>
        <a:lstStyle/>
        <a:p>
          <a:endParaRPr lang="en-US"/>
        </a:p>
      </dgm:t>
    </dgm:pt>
    <dgm:pt modelId="{818B563D-B51B-4666-8661-75FF7C730113}" type="sibTrans" cxnId="{7B7708B3-3D60-4404-AAB6-51F5F559B2E5}">
      <dgm:prSet/>
      <dgm:spPr/>
      <dgm:t>
        <a:bodyPr/>
        <a:lstStyle/>
        <a:p>
          <a:endParaRPr lang="en-US"/>
        </a:p>
      </dgm:t>
    </dgm:pt>
    <dgm:pt modelId="{92AC24ED-688F-405E-9127-6DE8A57B0F4F}">
      <dgm:prSet phldrT="[Text]"/>
      <dgm:spPr>
        <a:solidFill>
          <a:srgbClr val="00B050"/>
        </a:solidFill>
        <a:ln>
          <a:noFill/>
        </a:ln>
      </dgm:spPr>
      <dgm:t>
        <a:bodyPr/>
        <a:lstStyle/>
        <a:p>
          <a:r>
            <a:rPr lang="en-US" b="0" i="0" dirty="0" smtClean="0"/>
            <a:t>Virtually unlimited iterations of test case execution</a:t>
          </a:r>
          <a:endParaRPr lang="en-US" dirty="0"/>
        </a:p>
      </dgm:t>
    </dgm:pt>
    <dgm:pt modelId="{F72A1151-CB75-4EE2-BAEA-AA80530CDC9C}" type="parTrans" cxnId="{5DB19845-BD5A-4CA8-98AA-27DFBD593CBB}">
      <dgm:prSet/>
      <dgm:spPr/>
      <dgm:t>
        <a:bodyPr/>
        <a:lstStyle/>
        <a:p>
          <a:endParaRPr lang="en-US"/>
        </a:p>
      </dgm:t>
    </dgm:pt>
    <dgm:pt modelId="{6E74BDC6-0B22-42BE-98BC-54774D7BA5C4}" type="sibTrans" cxnId="{5DB19845-BD5A-4CA8-98AA-27DFBD593CBB}">
      <dgm:prSet/>
      <dgm:spPr/>
      <dgm:t>
        <a:bodyPr/>
        <a:lstStyle/>
        <a:p>
          <a:endParaRPr lang="en-US"/>
        </a:p>
      </dgm:t>
    </dgm:pt>
    <dgm:pt modelId="{D7D96DD2-F767-44E1-B47A-8011A011282C}">
      <dgm:prSet phldrT="[Text]"/>
      <dgm:spPr>
        <a:solidFill>
          <a:srgbClr val="002060"/>
        </a:solidFill>
        <a:ln>
          <a:noFill/>
        </a:ln>
      </dgm:spPr>
      <dgm:t>
        <a:bodyPr/>
        <a:lstStyle/>
        <a:p>
          <a:r>
            <a:rPr lang="en-US" b="0" i="0" dirty="0" smtClean="0"/>
            <a:t>Finding defects missed by manual testing</a:t>
          </a:r>
          <a:endParaRPr lang="en-US" dirty="0"/>
        </a:p>
      </dgm:t>
    </dgm:pt>
    <dgm:pt modelId="{8BB772BD-5095-4E6E-910C-D6A443FD0B4F}" type="parTrans" cxnId="{D17F140E-6023-47B7-8867-C20C881BD4E8}">
      <dgm:prSet/>
      <dgm:spPr/>
      <dgm:t>
        <a:bodyPr/>
        <a:lstStyle/>
        <a:p>
          <a:endParaRPr lang="en-US"/>
        </a:p>
      </dgm:t>
    </dgm:pt>
    <dgm:pt modelId="{85CE8271-EC63-4580-9777-9DCFDC80A986}" type="sibTrans" cxnId="{D17F140E-6023-47B7-8867-C20C881BD4E8}">
      <dgm:prSet/>
      <dgm:spPr/>
      <dgm:t>
        <a:bodyPr/>
        <a:lstStyle/>
        <a:p>
          <a:endParaRPr lang="en-US"/>
        </a:p>
      </dgm:t>
    </dgm:pt>
    <dgm:pt modelId="{7E8565DC-F2DF-49D5-8D8A-3539AF670274}">
      <dgm:prSet phldrT="[Text]"/>
      <dgm:spPr>
        <a:solidFill>
          <a:srgbClr val="2E75B6"/>
        </a:solidFill>
        <a:ln>
          <a:noFill/>
        </a:ln>
      </dgm:spPr>
      <dgm:t>
        <a:bodyPr/>
        <a:lstStyle/>
        <a:p>
          <a:r>
            <a:rPr lang="en-US" dirty="0" smtClean="0"/>
            <a:t> </a:t>
          </a:r>
          <a:endParaRPr lang="en-US" dirty="0"/>
        </a:p>
      </dgm:t>
    </dgm:pt>
    <dgm:pt modelId="{9090207B-3A81-425C-AAE3-5649D464B437}" type="sibTrans" cxnId="{C7DB5AAF-4AD8-4342-908E-89881E014270}">
      <dgm:prSet/>
      <dgm:spPr/>
      <dgm:t>
        <a:bodyPr/>
        <a:lstStyle/>
        <a:p>
          <a:endParaRPr lang="en-US"/>
        </a:p>
      </dgm:t>
    </dgm:pt>
    <dgm:pt modelId="{1728A87F-3F47-42D0-B829-7245BCB9E186}" type="parTrans" cxnId="{C7DB5AAF-4AD8-4342-908E-89881E014270}">
      <dgm:prSet/>
      <dgm:spPr/>
      <dgm:t>
        <a:bodyPr/>
        <a:lstStyle/>
        <a:p>
          <a:endParaRPr lang="en-US"/>
        </a:p>
      </dgm:t>
    </dgm:pt>
    <dgm:pt modelId="{6E2949AB-EF89-435E-AF82-BC48BC532BCE}" type="pres">
      <dgm:prSet presAssocID="{7E5E0DD0-7580-4228-BE20-FE9ACE16376D}" presName="diagram" presStyleCnt="0">
        <dgm:presLayoutVars>
          <dgm:chMax val="1"/>
          <dgm:dir/>
          <dgm:animLvl val="ctr"/>
          <dgm:resizeHandles val="exact"/>
        </dgm:presLayoutVars>
      </dgm:prSet>
      <dgm:spPr/>
      <dgm:t>
        <a:bodyPr/>
        <a:lstStyle/>
        <a:p>
          <a:endParaRPr lang="en-US"/>
        </a:p>
      </dgm:t>
    </dgm:pt>
    <dgm:pt modelId="{B0D61D9F-90CD-4126-B9D1-D9335D763753}" type="pres">
      <dgm:prSet presAssocID="{7E5E0DD0-7580-4228-BE20-FE9ACE16376D}" presName="matrix" presStyleCnt="0"/>
      <dgm:spPr/>
    </dgm:pt>
    <dgm:pt modelId="{838F984C-D8DE-4013-983F-475FFC712030}" type="pres">
      <dgm:prSet presAssocID="{7E5E0DD0-7580-4228-BE20-FE9ACE16376D}" presName="tile1" presStyleLbl="node1" presStyleIdx="0" presStyleCnt="4"/>
      <dgm:spPr/>
      <dgm:t>
        <a:bodyPr/>
        <a:lstStyle/>
        <a:p>
          <a:endParaRPr lang="en-US"/>
        </a:p>
      </dgm:t>
    </dgm:pt>
    <dgm:pt modelId="{C23E86DE-25E6-4B84-A7DF-B10462CC2BEF}" type="pres">
      <dgm:prSet presAssocID="{7E5E0DD0-7580-4228-BE20-FE9ACE16376D}" presName="tile1text" presStyleLbl="node1" presStyleIdx="0" presStyleCnt="4">
        <dgm:presLayoutVars>
          <dgm:chMax val="0"/>
          <dgm:chPref val="0"/>
          <dgm:bulletEnabled val="1"/>
        </dgm:presLayoutVars>
      </dgm:prSet>
      <dgm:spPr/>
      <dgm:t>
        <a:bodyPr/>
        <a:lstStyle/>
        <a:p>
          <a:endParaRPr lang="en-US"/>
        </a:p>
      </dgm:t>
    </dgm:pt>
    <dgm:pt modelId="{0A37FEDA-6266-4E60-BF79-FC689FEF1EF4}" type="pres">
      <dgm:prSet presAssocID="{7E5E0DD0-7580-4228-BE20-FE9ACE16376D}" presName="tile2" presStyleLbl="node1" presStyleIdx="1" presStyleCnt="4"/>
      <dgm:spPr/>
      <dgm:t>
        <a:bodyPr/>
        <a:lstStyle/>
        <a:p>
          <a:endParaRPr lang="en-US"/>
        </a:p>
      </dgm:t>
    </dgm:pt>
    <dgm:pt modelId="{A3774AAA-D21E-4F82-94FD-741A716D12FC}" type="pres">
      <dgm:prSet presAssocID="{7E5E0DD0-7580-4228-BE20-FE9ACE16376D}" presName="tile2text" presStyleLbl="node1" presStyleIdx="1" presStyleCnt="4">
        <dgm:presLayoutVars>
          <dgm:chMax val="0"/>
          <dgm:chPref val="0"/>
          <dgm:bulletEnabled val="1"/>
        </dgm:presLayoutVars>
      </dgm:prSet>
      <dgm:spPr/>
      <dgm:t>
        <a:bodyPr/>
        <a:lstStyle/>
        <a:p>
          <a:endParaRPr lang="en-US"/>
        </a:p>
      </dgm:t>
    </dgm:pt>
    <dgm:pt modelId="{791099EC-C976-4D4E-AD11-1679A81D128D}" type="pres">
      <dgm:prSet presAssocID="{7E5E0DD0-7580-4228-BE20-FE9ACE16376D}" presName="tile3" presStyleLbl="node1" presStyleIdx="2" presStyleCnt="4"/>
      <dgm:spPr/>
      <dgm:t>
        <a:bodyPr/>
        <a:lstStyle/>
        <a:p>
          <a:endParaRPr lang="en-US"/>
        </a:p>
      </dgm:t>
    </dgm:pt>
    <dgm:pt modelId="{4ED5F596-49B0-4704-8113-2CA148B62833}" type="pres">
      <dgm:prSet presAssocID="{7E5E0DD0-7580-4228-BE20-FE9ACE16376D}" presName="tile3text" presStyleLbl="node1" presStyleIdx="2" presStyleCnt="4">
        <dgm:presLayoutVars>
          <dgm:chMax val="0"/>
          <dgm:chPref val="0"/>
          <dgm:bulletEnabled val="1"/>
        </dgm:presLayoutVars>
      </dgm:prSet>
      <dgm:spPr/>
      <dgm:t>
        <a:bodyPr/>
        <a:lstStyle/>
        <a:p>
          <a:endParaRPr lang="en-US"/>
        </a:p>
      </dgm:t>
    </dgm:pt>
    <dgm:pt modelId="{9AC5FAB6-BBC5-4727-AADA-5695596274E9}" type="pres">
      <dgm:prSet presAssocID="{7E5E0DD0-7580-4228-BE20-FE9ACE16376D}" presName="tile4" presStyleLbl="node1" presStyleIdx="3" presStyleCnt="4"/>
      <dgm:spPr/>
      <dgm:t>
        <a:bodyPr/>
        <a:lstStyle/>
        <a:p>
          <a:endParaRPr lang="en-US"/>
        </a:p>
      </dgm:t>
    </dgm:pt>
    <dgm:pt modelId="{4E80D56E-D739-4DA9-A269-5EE373DFEB51}" type="pres">
      <dgm:prSet presAssocID="{7E5E0DD0-7580-4228-BE20-FE9ACE16376D}" presName="tile4text" presStyleLbl="node1" presStyleIdx="3" presStyleCnt="4">
        <dgm:presLayoutVars>
          <dgm:chMax val="0"/>
          <dgm:chPref val="0"/>
          <dgm:bulletEnabled val="1"/>
        </dgm:presLayoutVars>
      </dgm:prSet>
      <dgm:spPr/>
      <dgm:t>
        <a:bodyPr/>
        <a:lstStyle/>
        <a:p>
          <a:endParaRPr lang="en-US"/>
        </a:p>
      </dgm:t>
    </dgm:pt>
    <dgm:pt modelId="{D48EF8BF-5324-4D64-817E-F91EC1DCBAEF}" type="pres">
      <dgm:prSet presAssocID="{7E5E0DD0-7580-4228-BE20-FE9ACE16376D}" presName="centerTile" presStyleLbl="fgShp" presStyleIdx="0" presStyleCnt="1" custScaleY="143839">
        <dgm:presLayoutVars>
          <dgm:chMax val="0"/>
          <dgm:chPref val="0"/>
        </dgm:presLayoutVars>
      </dgm:prSet>
      <dgm:spPr/>
      <dgm:t>
        <a:bodyPr/>
        <a:lstStyle/>
        <a:p>
          <a:endParaRPr lang="en-US"/>
        </a:p>
      </dgm:t>
    </dgm:pt>
  </dgm:ptLst>
  <dgm:cxnLst>
    <dgm:cxn modelId="{64120B6C-6022-45CF-A414-6811D734DD2D}" type="presOf" srcId="{21C537C7-B19F-4080-A1C3-77EC94F5BBAB}" destId="{0A37FEDA-6266-4E60-BF79-FC689FEF1EF4}" srcOrd="0" destOrd="0" presId="urn:microsoft.com/office/officeart/2005/8/layout/matrix1"/>
    <dgm:cxn modelId="{C7DB5AAF-4AD8-4342-908E-89881E014270}" srcId="{7E5E0DD0-7580-4228-BE20-FE9ACE16376D}" destId="{7E8565DC-F2DF-49D5-8D8A-3539AF670274}" srcOrd="0" destOrd="0" parTransId="{1728A87F-3F47-42D0-B829-7245BCB9E186}" sibTransId="{9090207B-3A81-425C-AAE3-5649D464B437}"/>
    <dgm:cxn modelId="{D17F140E-6023-47B7-8867-C20C881BD4E8}" srcId="{7E8565DC-F2DF-49D5-8D8A-3539AF670274}" destId="{D7D96DD2-F767-44E1-B47A-8011A011282C}" srcOrd="3" destOrd="0" parTransId="{8BB772BD-5095-4E6E-910C-D6A443FD0B4F}" sibTransId="{85CE8271-EC63-4580-9777-9DCFDC80A986}"/>
    <dgm:cxn modelId="{EE848211-7AD0-4159-BEB9-6D3A10225A23}" type="presOf" srcId="{92AC24ED-688F-405E-9127-6DE8A57B0F4F}" destId="{791099EC-C976-4D4E-AD11-1679A81D128D}" srcOrd="0" destOrd="0" presId="urn:microsoft.com/office/officeart/2005/8/layout/matrix1"/>
    <dgm:cxn modelId="{D60FBB96-FD68-4AFB-B5AC-63790CA091FB}" type="presOf" srcId="{D7D96DD2-F767-44E1-B47A-8011A011282C}" destId="{4E80D56E-D739-4DA9-A269-5EE373DFEB51}" srcOrd="1" destOrd="0" presId="urn:microsoft.com/office/officeart/2005/8/layout/matrix1"/>
    <dgm:cxn modelId="{50381A91-20AE-49D2-BA24-33402E061AE6}" type="presOf" srcId="{D7D96DD2-F767-44E1-B47A-8011A011282C}" destId="{9AC5FAB6-BBC5-4727-AADA-5695596274E9}" srcOrd="0" destOrd="0" presId="urn:microsoft.com/office/officeart/2005/8/layout/matrix1"/>
    <dgm:cxn modelId="{881E7CFA-FBE9-426F-A281-1208C2998AAB}" type="presOf" srcId="{E1DDC8F4-43A3-4F52-B045-4D8E22AC255A}" destId="{838F984C-D8DE-4013-983F-475FFC712030}" srcOrd="0" destOrd="0" presId="urn:microsoft.com/office/officeart/2005/8/layout/matrix1"/>
    <dgm:cxn modelId="{28A29551-928A-4AD5-B0B8-65EC0110420F}" srcId="{7E8565DC-F2DF-49D5-8D8A-3539AF670274}" destId="{E1DDC8F4-43A3-4F52-B045-4D8E22AC255A}" srcOrd="0" destOrd="0" parTransId="{BA99E971-7625-454B-B0B6-6DAD847AAC0B}" sibTransId="{D2F96B57-4D00-4B19-BEA9-6753F75BFB58}"/>
    <dgm:cxn modelId="{76D789A8-1349-4E37-86A8-2CFF9B26861C}" type="presOf" srcId="{7E8565DC-F2DF-49D5-8D8A-3539AF670274}" destId="{D48EF8BF-5324-4D64-817E-F91EC1DCBAEF}" srcOrd="0" destOrd="0" presId="urn:microsoft.com/office/officeart/2005/8/layout/matrix1"/>
    <dgm:cxn modelId="{B918656A-5E47-45F8-AF43-1D0B7B6E7267}" type="presOf" srcId="{21C537C7-B19F-4080-A1C3-77EC94F5BBAB}" destId="{A3774AAA-D21E-4F82-94FD-741A716D12FC}" srcOrd="1" destOrd="0" presId="urn:microsoft.com/office/officeart/2005/8/layout/matrix1"/>
    <dgm:cxn modelId="{BE01804D-9C99-4C9C-A65A-D2CC1C9397D9}" type="presOf" srcId="{92AC24ED-688F-405E-9127-6DE8A57B0F4F}" destId="{4ED5F596-49B0-4704-8113-2CA148B62833}" srcOrd="1" destOrd="0" presId="urn:microsoft.com/office/officeart/2005/8/layout/matrix1"/>
    <dgm:cxn modelId="{5DB19845-BD5A-4CA8-98AA-27DFBD593CBB}" srcId="{7E8565DC-F2DF-49D5-8D8A-3539AF670274}" destId="{92AC24ED-688F-405E-9127-6DE8A57B0F4F}" srcOrd="2" destOrd="0" parTransId="{F72A1151-CB75-4EE2-BAEA-AA80530CDC9C}" sibTransId="{6E74BDC6-0B22-42BE-98BC-54774D7BA5C4}"/>
    <dgm:cxn modelId="{C1959E5C-0516-4FE7-9D61-D8D9994A35A7}" type="presOf" srcId="{7E5E0DD0-7580-4228-BE20-FE9ACE16376D}" destId="{6E2949AB-EF89-435E-AF82-BC48BC532BCE}" srcOrd="0" destOrd="0" presId="urn:microsoft.com/office/officeart/2005/8/layout/matrix1"/>
    <dgm:cxn modelId="{D8A817C1-2207-43D0-81C8-7C682D76E56E}" type="presOf" srcId="{E1DDC8F4-43A3-4F52-B045-4D8E22AC255A}" destId="{C23E86DE-25E6-4B84-A7DF-B10462CC2BEF}" srcOrd="1" destOrd="0" presId="urn:microsoft.com/office/officeart/2005/8/layout/matrix1"/>
    <dgm:cxn modelId="{7B7708B3-3D60-4404-AAB6-51F5F559B2E5}" srcId="{7E8565DC-F2DF-49D5-8D8A-3539AF670274}" destId="{21C537C7-B19F-4080-A1C3-77EC94F5BBAB}" srcOrd="1" destOrd="0" parTransId="{6625F26D-E780-40CA-9D72-0395653E47E7}" sibTransId="{818B563D-B51B-4666-8661-75FF7C730113}"/>
    <dgm:cxn modelId="{448198A5-D8E7-470A-8807-3BF89713C011}" type="presParOf" srcId="{6E2949AB-EF89-435E-AF82-BC48BC532BCE}" destId="{B0D61D9F-90CD-4126-B9D1-D9335D763753}" srcOrd="0" destOrd="0" presId="urn:microsoft.com/office/officeart/2005/8/layout/matrix1"/>
    <dgm:cxn modelId="{98FBA2D0-3524-4BCE-A417-60434C109EE0}" type="presParOf" srcId="{B0D61D9F-90CD-4126-B9D1-D9335D763753}" destId="{838F984C-D8DE-4013-983F-475FFC712030}" srcOrd="0" destOrd="0" presId="urn:microsoft.com/office/officeart/2005/8/layout/matrix1"/>
    <dgm:cxn modelId="{1CC222AD-7A3D-4CA1-9BCA-BF7AFC6A10E4}" type="presParOf" srcId="{B0D61D9F-90CD-4126-B9D1-D9335D763753}" destId="{C23E86DE-25E6-4B84-A7DF-B10462CC2BEF}" srcOrd="1" destOrd="0" presId="urn:microsoft.com/office/officeart/2005/8/layout/matrix1"/>
    <dgm:cxn modelId="{AEAE0B67-BA22-4E2B-A04C-753B17804CBB}" type="presParOf" srcId="{B0D61D9F-90CD-4126-B9D1-D9335D763753}" destId="{0A37FEDA-6266-4E60-BF79-FC689FEF1EF4}" srcOrd="2" destOrd="0" presId="urn:microsoft.com/office/officeart/2005/8/layout/matrix1"/>
    <dgm:cxn modelId="{3FBEA2B1-F243-4B7A-89FB-8CC9CA5AE24C}" type="presParOf" srcId="{B0D61D9F-90CD-4126-B9D1-D9335D763753}" destId="{A3774AAA-D21E-4F82-94FD-741A716D12FC}" srcOrd="3" destOrd="0" presId="urn:microsoft.com/office/officeart/2005/8/layout/matrix1"/>
    <dgm:cxn modelId="{FBCEE94D-2648-49BE-9B1B-63CB07296FD1}" type="presParOf" srcId="{B0D61D9F-90CD-4126-B9D1-D9335D763753}" destId="{791099EC-C976-4D4E-AD11-1679A81D128D}" srcOrd="4" destOrd="0" presId="urn:microsoft.com/office/officeart/2005/8/layout/matrix1"/>
    <dgm:cxn modelId="{588DF6D7-A94F-4043-B7C9-FFDF85E56C7D}" type="presParOf" srcId="{B0D61D9F-90CD-4126-B9D1-D9335D763753}" destId="{4ED5F596-49B0-4704-8113-2CA148B62833}" srcOrd="5" destOrd="0" presId="urn:microsoft.com/office/officeart/2005/8/layout/matrix1"/>
    <dgm:cxn modelId="{90CF5659-2D23-4CC8-8B85-9AF58EDC298B}" type="presParOf" srcId="{B0D61D9F-90CD-4126-B9D1-D9335D763753}" destId="{9AC5FAB6-BBC5-4727-AADA-5695596274E9}" srcOrd="6" destOrd="0" presId="urn:microsoft.com/office/officeart/2005/8/layout/matrix1"/>
    <dgm:cxn modelId="{B546FE6D-3182-4D44-94B2-31B8C80139C8}" type="presParOf" srcId="{B0D61D9F-90CD-4126-B9D1-D9335D763753}" destId="{4E80D56E-D739-4DA9-A269-5EE373DFEB51}" srcOrd="7" destOrd="0" presId="urn:microsoft.com/office/officeart/2005/8/layout/matrix1"/>
    <dgm:cxn modelId="{736FF5F6-A832-4519-B7AB-664AA5C20C87}" type="presParOf" srcId="{6E2949AB-EF89-435E-AF82-BC48BC532BCE}" destId="{D48EF8BF-5324-4D64-817E-F91EC1DCBAEF}"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3B4E16-78FB-45D1-A88E-3BD053A68B4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05B1D4AB-D8D5-42DD-B50D-AB9D7BFEFC2E}">
      <dgm:prSet phldrT="[Text]" custT="1"/>
      <dgm:spPr>
        <a:solidFill>
          <a:schemeClr val="tx1"/>
        </a:solidFill>
        <a:ln>
          <a:noFill/>
        </a:ln>
      </dgm:spPr>
      <dgm:t>
        <a:bodyPr/>
        <a:lstStyle/>
        <a:p>
          <a:r>
            <a:rPr lang="en-US" sz="4000" b="1" dirty="0" smtClean="0">
              <a:solidFill>
                <a:schemeClr val="accent4"/>
              </a:solidFill>
            </a:rPr>
            <a:t>Selenium Suite</a:t>
          </a:r>
          <a:endParaRPr lang="en-US" sz="4000" b="1" dirty="0">
            <a:solidFill>
              <a:schemeClr val="accent4"/>
            </a:solidFill>
          </a:endParaRPr>
        </a:p>
      </dgm:t>
    </dgm:pt>
    <dgm:pt modelId="{4C0852D2-7B24-4983-BAF9-0B44788AF047}" type="parTrans" cxnId="{4D46A001-0CB0-4327-B601-82EDFE56F6B5}">
      <dgm:prSet/>
      <dgm:spPr/>
      <dgm:t>
        <a:bodyPr/>
        <a:lstStyle/>
        <a:p>
          <a:endParaRPr lang="en-US"/>
        </a:p>
      </dgm:t>
    </dgm:pt>
    <dgm:pt modelId="{F47CC933-D3E0-4D0C-89C3-4172242B9834}" type="sibTrans" cxnId="{4D46A001-0CB0-4327-B601-82EDFE56F6B5}">
      <dgm:prSet/>
      <dgm:spPr/>
      <dgm:t>
        <a:bodyPr/>
        <a:lstStyle/>
        <a:p>
          <a:endParaRPr lang="en-US"/>
        </a:p>
      </dgm:t>
    </dgm:pt>
    <dgm:pt modelId="{6D1CFF49-8BA6-4ED8-9259-B0284A66F721}">
      <dgm:prSet phldrT="[Text]" custT="1"/>
      <dgm:spPr>
        <a:solidFill>
          <a:schemeClr val="accent4"/>
        </a:solidFill>
        <a:ln>
          <a:noFill/>
        </a:ln>
      </dgm:spPr>
      <dgm:t>
        <a:bodyPr/>
        <a:lstStyle/>
        <a:p>
          <a:r>
            <a:rPr lang="en-US" sz="4000" dirty="0" smtClean="0">
              <a:solidFill>
                <a:schemeClr val="tx1"/>
              </a:solidFill>
              <a:latin typeface="Andalus" panose="02020603050405020304" pitchFamily="18" charset="-78"/>
              <a:cs typeface="Andalus" panose="02020603050405020304" pitchFamily="18" charset="-78"/>
            </a:rPr>
            <a:t>Selenium IDE</a:t>
          </a:r>
          <a:endParaRPr lang="en-US" sz="4000" dirty="0">
            <a:solidFill>
              <a:schemeClr val="tx1"/>
            </a:solidFill>
            <a:latin typeface="Andalus" panose="02020603050405020304" pitchFamily="18" charset="-78"/>
            <a:cs typeface="Andalus" panose="02020603050405020304" pitchFamily="18" charset="-78"/>
          </a:endParaRPr>
        </a:p>
      </dgm:t>
    </dgm:pt>
    <dgm:pt modelId="{09DB1E86-B142-4A2F-BB8C-4F96F4F69EC2}" type="parTrans" cxnId="{8494AFBC-D440-4E07-9E21-65A0BE3930BE}">
      <dgm:prSet/>
      <dgm:spPr>
        <a:ln w="50800" cap="rnd">
          <a:solidFill>
            <a:schemeClr val="bg1"/>
          </a:solidFill>
        </a:ln>
      </dgm:spPr>
      <dgm:t>
        <a:bodyPr/>
        <a:lstStyle/>
        <a:p>
          <a:endParaRPr lang="en-US"/>
        </a:p>
      </dgm:t>
    </dgm:pt>
    <dgm:pt modelId="{4B96D7F2-CDB5-4B96-9BBC-1508B43C1615}" type="sibTrans" cxnId="{8494AFBC-D440-4E07-9E21-65A0BE3930BE}">
      <dgm:prSet/>
      <dgm:spPr/>
      <dgm:t>
        <a:bodyPr/>
        <a:lstStyle/>
        <a:p>
          <a:endParaRPr lang="en-US"/>
        </a:p>
      </dgm:t>
    </dgm:pt>
    <dgm:pt modelId="{DBE1F6DC-394F-48C4-9E25-711E3A294F9C}">
      <dgm:prSet phldrT="[Text]" custT="1"/>
      <dgm:spPr>
        <a:solidFill>
          <a:schemeClr val="accent4"/>
        </a:solidFill>
        <a:ln>
          <a:noFill/>
        </a:ln>
      </dgm:spPr>
      <dgm:t>
        <a:bodyPr/>
        <a:lstStyle/>
        <a:p>
          <a:r>
            <a:rPr lang="en-US" sz="3200" dirty="0" smtClean="0">
              <a:solidFill>
                <a:schemeClr val="tx1"/>
              </a:solidFill>
              <a:latin typeface="Andalus" panose="02020603050405020304" pitchFamily="18" charset="-78"/>
              <a:cs typeface="Andalus" panose="02020603050405020304" pitchFamily="18" charset="-78"/>
            </a:rPr>
            <a:t>Selenium 2 (Webdriver &amp; RC)</a:t>
          </a:r>
          <a:endParaRPr lang="en-US" sz="3200" dirty="0">
            <a:solidFill>
              <a:schemeClr val="tx1"/>
            </a:solidFill>
            <a:latin typeface="Andalus" panose="02020603050405020304" pitchFamily="18" charset="-78"/>
            <a:cs typeface="Andalus" panose="02020603050405020304" pitchFamily="18" charset="-78"/>
          </a:endParaRPr>
        </a:p>
      </dgm:t>
    </dgm:pt>
    <dgm:pt modelId="{C21D25F9-4463-4F13-AA0B-6E55EA8FEC5C}" type="parTrans" cxnId="{1D7C8064-5731-43CE-9965-1D9A6A582DFD}">
      <dgm:prSet/>
      <dgm:spPr>
        <a:ln w="50800" cap="rnd">
          <a:solidFill>
            <a:schemeClr val="bg1"/>
          </a:solidFill>
        </a:ln>
      </dgm:spPr>
      <dgm:t>
        <a:bodyPr/>
        <a:lstStyle/>
        <a:p>
          <a:endParaRPr lang="en-US"/>
        </a:p>
      </dgm:t>
    </dgm:pt>
    <dgm:pt modelId="{E952B0D3-9C35-4AC6-815E-821ADA6F2BD4}" type="sibTrans" cxnId="{1D7C8064-5731-43CE-9965-1D9A6A582DFD}">
      <dgm:prSet/>
      <dgm:spPr/>
      <dgm:t>
        <a:bodyPr/>
        <a:lstStyle/>
        <a:p>
          <a:endParaRPr lang="en-US"/>
        </a:p>
      </dgm:t>
    </dgm:pt>
    <dgm:pt modelId="{C3483E22-81F5-4DFB-845F-08E7F82859B3}">
      <dgm:prSet phldrT="[Text]" custT="1"/>
      <dgm:spPr>
        <a:solidFill>
          <a:schemeClr val="accent4"/>
        </a:solidFill>
        <a:ln>
          <a:noFill/>
        </a:ln>
      </dgm:spPr>
      <dgm:t>
        <a:bodyPr/>
        <a:lstStyle/>
        <a:p>
          <a:r>
            <a:rPr lang="en-US" sz="4000" dirty="0" smtClean="0">
              <a:solidFill>
                <a:schemeClr val="tx1"/>
              </a:solidFill>
              <a:latin typeface="Andalus" panose="02020603050405020304" pitchFamily="18" charset="-78"/>
              <a:cs typeface="Andalus" panose="02020603050405020304" pitchFamily="18" charset="-78"/>
            </a:rPr>
            <a:t>Selenium Grid</a:t>
          </a:r>
          <a:endParaRPr lang="en-US" sz="4000" dirty="0">
            <a:solidFill>
              <a:schemeClr val="tx1"/>
            </a:solidFill>
            <a:latin typeface="Andalus" panose="02020603050405020304" pitchFamily="18" charset="-78"/>
            <a:cs typeface="Andalus" panose="02020603050405020304" pitchFamily="18" charset="-78"/>
          </a:endParaRPr>
        </a:p>
      </dgm:t>
    </dgm:pt>
    <dgm:pt modelId="{C8D11AC7-BD93-4C31-9538-2064A1E3E4A7}" type="parTrans" cxnId="{2C598D2D-56CB-40F3-9F2A-C734514796BD}">
      <dgm:prSet/>
      <dgm:spPr>
        <a:ln w="50800" cap="rnd">
          <a:solidFill>
            <a:schemeClr val="bg1"/>
          </a:solidFill>
        </a:ln>
      </dgm:spPr>
      <dgm:t>
        <a:bodyPr/>
        <a:lstStyle/>
        <a:p>
          <a:endParaRPr lang="en-US"/>
        </a:p>
      </dgm:t>
    </dgm:pt>
    <dgm:pt modelId="{53D4A9F3-7035-4522-8040-98A46EF80E44}" type="sibTrans" cxnId="{2C598D2D-56CB-40F3-9F2A-C734514796BD}">
      <dgm:prSet/>
      <dgm:spPr/>
      <dgm:t>
        <a:bodyPr/>
        <a:lstStyle/>
        <a:p>
          <a:endParaRPr lang="en-US"/>
        </a:p>
      </dgm:t>
    </dgm:pt>
    <dgm:pt modelId="{ACBDF684-A446-4BAC-955B-9CF528FEAEA0}" type="pres">
      <dgm:prSet presAssocID="{C23B4E16-78FB-45D1-A88E-3BD053A68B4C}" presName="diagram" presStyleCnt="0">
        <dgm:presLayoutVars>
          <dgm:chPref val="1"/>
          <dgm:dir/>
          <dgm:animOne val="branch"/>
          <dgm:animLvl val="lvl"/>
          <dgm:resizeHandles val="exact"/>
        </dgm:presLayoutVars>
      </dgm:prSet>
      <dgm:spPr/>
      <dgm:t>
        <a:bodyPr/>
        <a:lstStyle/>
        <a:p>
          <a:endParaRPr lang="en-US"/>
        </a:p>
      </dgm:t>
    </dgm:pt>
    <dgm:pt modelId="{C3BCF661-C0A3-45C8-B052-45E5792FC1E2}" type="pres">
      <dgm:prSet presAssocID="{05B1D4AB-D8D5-42DD-B50D-AB9D7BFEFC2E}" presName="root1" presStyleCnt="0"/>
      <dgm:spPr/>
    </dgm:pt>
    <dgm:pt modelId="{0395DBC6-28BE-43A4-BF5A-62ACB51729EE}" type="pres">
      <dgm:prSet presAssocID="{05B1D4AB-D8D5-42DD-B50D-AB9D7BFEFC2E}" presName="LevelOneTextNode" presStyleLbl="node0" presStyleIdx="0" presStyleCnt="1">
        <dgm:presLayoutVars>
          <dgm:chPref val="3"/>
        </dgm:presLayoutVars>
      </dgm:prSet>
      <dgm:spPr/>
      <dgm:t>
        <a:bodyPr/>
        <a:lstStyle/>
        <a:p>
          <a:endParaRPr lang="en-US"/>
        </a:p>
      </dgm:t>
    </dgm:pt>
    <dgm:pt modelId="{14E067B4-8A8D-44D0-88DE-4622971A071F}" type="pres">
      <dgm:prSet presAssocID="{05B1D4AB-D8D5-42DD-B50D-AB9D7BFEFC2E}" presName="level2hierChild" presStyleCnt="0"/>
      <dgm:spPr/>
    </dgm:pt>
    <dgm:pt modelId="{82B365B3-F0B6-46A4-BE8C-0FF0D41CA157}" type="pres">
      <dgm:prSet presAssocID="{09DB1E86-B142-4A2F-BB8C-4F96F4F69EC2}" presName="conn2-1" presStyleLbl="parChTrans1D2" presStyleIdx="0" presStyleCnt="3"/>
      <dgm:spPr/>
      <dgm:t>
        <a:bodyPr/>
        <a:lstStyle/>
        <a:p>
          <a:endParaRPr lang="en-US"/>
        </a:p>
      </dgm:t>
    </dgm:pt>
    <dgm:pt modelId="{0EC86ABA-A869-4B73-82DB-3A5E7B83E0ED}" type="pres">
      <dgm:prSet presAssocID="{09DB1E86-B142-4A2F-BB8C-4F96F4F69EC2}" presName="connTx" presStyleLbl="parChTrans1D2" presStyleIdx="0" presStyleCnt="3"/>
      <dgm:spPr/>
      <dgm:t>
        <a:bodyPr/>
        <a:lstStyle/>
        <a:p>
          <a:endParaRPr lang="en-US"/>
        </a:p>
      </dgm:t>
    </dgm:pt>
    <dgm:pt modelId="{9350005D-EFB7-40E1-8686-B26A3E9CF699}" type="pres">
      <dgm:prSet presAssocID="{6D1CFF49-8BA6-4ED8-9259-B0284A66F721}" presName="root2" presStyleCnt="0"/>
      <dgm:spPr/>
    </dgm:pt>
    <dgm:pt modelId="{6548856A-4102-410D-961C-DDD5763EB351}" type="pres">
      <dgm:prSet presAssocID="{6D1CFF49-8BA6-4ED8-9259-B0284A66F721}" presName="LevelTwoTextNode" presStyleLbl="node2" presStyleIdx="0" presStyleCnt="3" custLinFactNeighborX="-16839">
        <dgm:presLayoutVars>
          <dgm:chPref val="3"/>
        </dgm:presLayoutVars>
      </dgm:prSet>
      <dgm:spPr/>
      <dgm:t>
        <a:bodyPr/>
        <a:lstStyle/>
        <a:p>
          <a:endParaRPr lang="en-US"/>
        </a:p>
      </dgm:t>
    </dgm:pt>
    <dgm:pt modelId="{B1B2E0EA-909D-4392-9F07-37E28B951E12}" type="pres">
      <dgm:prSet presAssocID="{6D1CFF49-8BA6-4ED8-9259-B0284A66F721}" presName="level3hierChild" presStyleCnt="0"/>
      <dgm:spPr/>
    </dgm:pt>
    <dgm:pt modelId="{749A4602-F0CB-4EC3-8D07-1162E53F4D96}" type="pres">
      <dgm:prSet presAssocID="{C21D25F9-4463-4F13-AA0B-6E55EA8FEC5C}" presName="conn2-1" presStyleLbl="parChTrans1D2" presStyleIdx="1" presStyleCnt="3"/>
      <dgm:spPr/>
      <dgm:t>
        <a:bodyPr/>
        <a:lstStyle/>
        <a:p>
          <a:endParaRPr lang="en-US"/>
        </a:p>
      </dgm:t>
    </dgm:pt>
    <dgm:pt modelId="{6AD85893-E810-405A-86B1-6EABFD13B0CF}" type="pres">
      <dgm:prSet presAssocID="{C21D25F9-4463-4F13-AA0B-6E55EA8FEC5C}" presName="connTx" presStyleLbl="parChTrans1D2" presStyleIdx="1" presStyleCnt="3"/>
      <dgm:spPr/>
      <dgm:t>
        <a:bodyPr/>
        <a:lstStyle/>
        <a:p>
          <a:endParaRPr lang="en-US"/>
        </a:p>
      </dgm:t>
    </dgm:pt>
    <dgm:pt modelId="{6CCBEE01-166D-4E78-B6F9-B8E0CE4128BA}" type="pres">
      <dgm:prSet presAssocID="{DBE1F6DC-394F-48C4-9E25-711E3A294F9C}" presName="root2" presStyleCnt="0"/>
      <dgm:spPr/>
    </dgm:pt>
    <dgm:pt modelId="{E5FD5451-7234-44C6-9B4F-22A8CC86502E}" type="pres">
      <dgm:prSet presAssocID="{DBE1F6DC-394F-48C4-9E25-711E3A294F9C}" presName="LevelTwoTextNode" presStyleLbl="node2" presStyleIdx="1" presStyleCnt="3" custLinFactNeighborX="-16839">
        <dgm:presLayoutVars>
          <dgm:chPref val="3"/>
        </dgm:presLayoutVars>
      </dgm:prSet>
      <dgm:spPr/>
      <dgm:t>
        <a:bodyPr/>
        <a:lstStyle/>
        <a:p>
          <a:endParaRPr lang="en-US"/>
        </a:p>
      </dgm:t>
    </dgm:pt>
    <dgm:pt modelId="{1119CE78-C669-4A06-99A9-E4159A6820C5}" type="pres">
      <dgm:prSet presAssocID="{DBE1F6DC-394F-48C4-9E25-711E3A294F9C}" presName="level3hierChild" presStyleCnt="0"/>
      <dgm:spPr/>
    </dgm:pt>
    <dgm:pt modelId="{18A8C619-A0A2-4238-A811-1083AF1F8427}" type="pres">
      <dgm:prSet presAssocID="{C8D11AC7-BD93-4C31-9538-2064A1E3E4A7}" presName="conn2-1" presStyleLbl="parChTrans1D2" presStyleIdx="2" presStyleCnt="3"/>
      <dgm:spPr/>
      <dgm:t>
        <a:bodyPr/>
        <a:lstStyle/>
        <a:p>
          <a:endParaRPr lang="en-US"/>
        </a:p>
      </dgm:t>
    </dgm:pt>
    <dgm:pt modelId="{AEF59868-8140-46BE-8BE2-78F77B447F39}" type="pres">
      <dgm:prSet presAssocID="{C8D11AC7-BD93-4C31-9538-2064A1E3E4A7}" presName="connTx" presStyleLbl="parChTrans1D2" presStyleIdx="2" presStyleCnt="3"/>
      <dgm:spPr/>
      <dgm:t>
        <a:bodyPr/>
        <a:lstStyle/>
        <a:p>
          <a:endParaRPr lang="en-US"/>
        </a:p>
      </dgm:t>
    </dgm:pt>
    <dgm:pt modelId="{C183E9B0-62F2-4E06-BF57-147745C25565}" type="pres">
      <dgm:prSet presAssocID="{C3483E22-81F5-4DFB-845F-08E7F82859B3}" presName="root2" presStyleCnt="0"/>
      <dgm:spPr/>
    </dgm:pt>
    <dgm:pt modelId="{B11EF92B-62A9-45F1-B52B-C2D92FF048A1}" type="pres">
      <dgm:prSet presAssocID="{C3483E22-81F5-4DFB-845F-08E7F82859B3}" presName="LevelTwoTextNode" presStyleLbl="node2" presStyleIdx="2" presStyleCnt="3" custLinFactNeighborX="-16839">
        <dgm:presLayoutVars>
          <dgm:chPref val="3"/>
        </dgm:presLayoutVars>
      </dgm:prSet>
      <dgm:spPr/>
      <dgm:t>
        <a:bodyPr/>
        <a:lstStyle/>
        <a:p>
          <a:endParaRPr lang="en-US"/>
        </a:p>
      </dgm:t>
    </dgm:pt>
    <dgm:pt modelId="{101071FD-877C-48D6-8570-0649AC1DABF8}" type="pres">
      <dgm:prSet presAssocID="{C3483E22-81F5-4DFB-845F-08E7F82859B3}" presName="level3hierChild" presStyleCnt="0"/>
      <dgm:spPr/>
    </dgm:pt>
  </dgm:ptLst>
  <dgm:cxnLst>
    <dgm:cxn modelId="{21E05766-4B87-4E34-8C9A-DDBAFA844E2E}" type="presOf" srcId="{C21D25F9-4463-4F13-AA0B-6E55EA8FEC5C}" destId="{749A4602-F0CB-4EC3-8D07-1162E53F4D96}" srcOrd="0" destOrd="0" presId="urn:microsoft.com/office/officeart/2005/8/layout/hierarchy2"/>
    <dgm:cxn modelId="{DE9415F1-87DC-47B3-9E28-81274AF799F6}" type="presOf" srcId="{C23B4E16-78FB-45D1-A88E-3BD053A68B4C}" destId="{ACBDF684-A446-4BAC-955B-9CF528FEAEA0}" srcOrd="0" destOrd="0" presId="urn:microsoft.com/office/officeart/2005/8/layout/hierarchy2"/>
    <dgm:cxn modelId="{4DAF1531-93FA-4621-B647-72824307D2AA}" type="presOf" srcId="{C3483E22-81F5-4DFB-845F-08E7F82859B3}" destId="{B11EF92B-62A9-45F1-B52B-C2D92FF048A1}" srcOrd="0" destOrd="0" presId="urn:microsoft.com/office/officeart/2005/8/layout/hierarchy2"/>
    <dgm:cxn modelId="{48EA0B36-6B9A-4F72-91E5-F535B9040A4D}" type="presOf" srcId="{05B1D4AB-D8D5-42DD-B50D-AB9D7BFEFC2E}" destId="{0395DBC6-28BE-43A4-BF5A-62ACB51729EE}" srcOrd="0" destOrd="0" presId="urn:microsoft.com/office/officeart/2005/8/layout/hierarchy2"/>
    <dgm:cxn modelId="{9CF87CFC-46BF-4C44-B2E5-3E2812DF212F}" type="presOf" srcId="{09DB1E86-B142-4A2F-BB8C-4F96F4F69EC2}" destId="{82B365B3-F0B6-46A4-BE8C-0FF0D41CA157}" srcOrd="0" destOrd="0" presId="urn:microsoft.com/office/officeart/2005/8/layout/hierarchy2"/>
    <dgm:cxn modelId="{31FB7A4D-272B-4384-89C5-E953A638E10F}" type="presOf" srcId="{C8D11AC7-BD93-4C31-9538-2064A1E3E4A7}" destId="{AEF59868-8140-46BE-8BE2-78F77B447F39}" srcOrd="1" destOrd="0" presId="urn:microsoft.com/office/officeart/2005/8/layout/hierarchy2"/>
    <dgm:cxn modelId="{03556AD5-8561-4208-858E-E7EE34A854A9}" type="presOf" srcId="{6D1CFF49-8BA6-4ED8-9259-B0284A66F721}" destId="{6548856A-4102-410D-961C-DDD5763EB351}" srcOrd="0" destOrd="0" presId="urn:microsoft.com/office/officeart/2005/8/layout/hierarchy2"/>
    <dgm:cxn modelId="{30C9AB1B-1EB5-47E1-A6E8-DBCE51FD0219}" type="presOf" srcId="{DBE1F6DC-394F-48C4-9E25-711E3A294F9C}" destId="{E5FD5451-7234-44C6-9B4F-22A8CC86502E}" srcOrd="0" destOrd="0" presId="urn:microsoft.com/office/officeart/2005/8/layout/hierarchy2"/>
    <dgm:cxn modelId="{8494AFBC-D440-4E07-9E21-65A0BE3930BE}" srcId="{05B1D4AB-D8D5-42DD-B50D-AB9D7BFEFC2E}" destId="{6D1CFF49-8BA6-4ED8-9259-B0284A66F721}" srcOrd="0" destOrd="0" parTransId="{09DB1E86-B142-4A2F-BB8C-4F96F4F69EC2}" sibTransId="{4B96D7F2-CDB5-4B96-9BBC-1508B43C1615}"/>
    <dgm:cxn modelId="{1D7C8064-5731-43CE-9965-1D9A6A582DFD}" srcId="{05B1D4AB-D8D5-42DD-B50D-AB9D7BFEFC2E}" destId="{DBE1F6DC-394F-48C4-9E25-711E3A294F9C}" srcOrd="1" destOrd="0" parTransId="{C21D25F9-4463-4F13-AA0B-6E55EA8FEC5C}" sibTransId="{E952B0D3-9C35-4AC6-815E-821ADA6F2BD4}"/>
    <dgm:cxn modelId="{2C598D2D-56CB-40F3-9F2A-C734514796BD}" srcId="{05B1D4AB-D8D5-42DD-B50D-AB9D7BFEFC2E}" destId="{C3483E22-81F5-4DFB-845F-08E7F82859B3}" srcOrd="2" destOrd="0" parTransId="{C8D11AC7-BD93-4C31-9538-2064A1E3E4A7}" sibTransId="{53D4A9F3-7035-4522-8040-98A46EF80E44}"/>
    <dgm:cxn modelId="{B5B59AF1-EE21-46A5-81FF-685AA3440564}" type="presOf" srcId="{C8D11AC7-BD93-4C31-9538-2064A1E3E4A7}" destId="{18A8C619-A0A2-4238-A811-1083AF1F8427}" srcOrd="0" destOrd="0" presId="urn:microsoft.com/office/officeart/2005/8/layout/hierarchy2"/>
    <dgm:cxn modelId="{AB31A8D0-DE1F-4298-9C49-720735E41ABE}" type="presOf" srcId="{09DB1E86-B142-4A2F-BB8C-4F96F4F69EC2}" destId="{0EC86ABA-A869-4B73-82DB-3A5E7B83E0ED}" srcOrd="1" destOrd="0" presId="urn:microsoft.com/office/officeart/2005/8/layout/hierarchy2"/>
    <dgm:cxn modelId="{4D46A001-0CB0-4327-B601-82EDFE56F6B5}" srcId="{C23B4E16-78FB-45D1-A88E-3BD053A68B4C}" destId="{05B1D4AB-D8D5-42DD-B50D-AB9D7BFEFC2E}" srcOrd="0" destOrd="0" parTransId="{4C0852D2-7B24-4983-BAF9-0B44788AF047}" sibTransId="{F47CC933-D3E0-4D0C-89C3-4172242B9834}"/>
    <dgm:cxn modelId="{32C2EAAD-32C7-4E74-8EAF-BAEA0B4A8CC3}" type="presOf" srcId="{C21D25F9-4463-4F13-AA0B-6E55EA8FEC5C}" destId="{6AD85893-E810-405A-86B1-6EABFD13B0CF}" srcOrd="1" destOrd="0" presId="urn:microsoft.com/office/officeart/2005/8/layout/hierarchy2"/>
    <dgm:cxn modelId="{44BB632B-983F-400D-99F2-E6075D054699}" type="presParOf" srcId="{ACBDF684-A446-4BAC-955B-9CF528FEAEA0}" destId="{C3BCF661-C0A3-45C8-B052-45E5792FC1E2}" srcOrd="0" destOrd="0" presId="urn:microsoft.com/office/officeart/2005/8/layout/hierarchy2"/>
    <dgm:cxn modelId="{9C705654-3560-4229-80B3-53A0FDD0C4E3}" type="presParOf" srcId="{C3BCF661-C0A3-45C8-B052-45E5792FC1E2}" destId="{0395DBC6-28BE-43A4-BF5A-62ACB51729EE}" srcOrd="0" destOrd="0" presId="urn:microsoft.com/office/officeart/2005/8/layout/hierarchy2"/>
    <dgm:cxn modelId="{5357AF33-DF5D-4137-9250-A3BE96802DC4}" type="presParOf" srcId="{C3BCF661-C0A3-45C8-B052-45E5792FC1E2}" destId="{14E067B4-8A8D-44D0-88DE-4622971A071F}" srcOrd="1" destOrd="0" presId="urn:microsoft.com/office/officeart/2005/8/layout/hierarchy2"/>
    <dgm:cxn modelId="{FB046C0B-E6F4-4EB5-92FD-A704D3356C10}" type="presParOf" srcId="{14E067B4-8A8D-44D0-88DE-4622971A071F}" destId="{82B365B3-F0B6-46A4-BE8C-0FF0D41CA157}" srcOrd="0" destOrd="0" presId="urn:microsoft.com/office/officeart/2005/8/layout/hierarchy2"/>
    <dgm:cxn modelId="{2FCB24B2-92E2-41AC-B549-646EE9F7C9D5}" type="presParOf" srcId="{82B365B3-F0B6-46A4-BE8C-0FF0D41CA157}" destId="{0EC86ABA-A869-4B73-82DB-3A5E7B83E0ED}" srcOrd="0" destOrd="0" presId="urn:microsoft.com/office/officeart/2005/8/layout/hierarchy2"/>
    <dgm:cxn modelId="{44A12509-C011-4C8A-8B29-AA0AED24A371}" type="presParOf" srcId="{14E067B4-8A8D-44D0-88DE-4622971A071F}" destId="{9350005D-EFB7-40E1-8686-B26A3E9CF699}" srcOrd="1" destOrd="0" presId="urn:microsoft.com/office/officeart/2005/8/layout/hierarchy2"/>
    <dgm:cxn modelId="{88760A54-B3B1-4527-996B-A0E9C247B375}" type="presParOf" srcId="{9350005D-EFB7-40E1-8686-B26A3E9CF699}" destId="{6548856A-4102-410D-961C-DDD5763EB351}" srcOrd="0" destOrd="0" presId="urn:microsoft.com/office/officeart/2005/8/layout/hierarchy2"/>
    <dgm:cxn modelId="{6512768B-27CB-4557-B3AE-5311FEA76AFA}" type="presParOf" srcId="{9350005D-EFB7-40E1-8686-B26A3E9CF699}" destId="{B1B2E0EA-909D-4392-9F07-37E28B951E12}" srcOrd="1" destOrd="0" presId="urn:microsoft.com/office/officeart/2005/8/layout/hierarchy2"/>
    <dgm:cxn modelId="{E3862FE9-8B52-4F71-85EE-49DC252EB7B0}" type="presParOf" srcId="{14E067B4-8A8D-44D0-88DE-4622971A071F}" destId="{749A4602-F0CB-4EC3-8D07-1162E53F4D96}" srcOrd="2" destOrd="0" presId="urn:microsoft.com/office/officeart/2005/8/layout/hierarchy2"/>
    <dgm:cxn modelId="{774E4F46-20E4-421C-BC6B-B387B72D610C}" type="presParOf" srcId="{749A4602-F0CB-4EC3-8D07-1162E53F4D96}" destId="{6AD85893-E810-405A-86B1-6EABFD13B0CF}" srcOrd="0" destOrd="0" presId="urn:microsoft.com/office/officeart/2005/8/layout/hierarchy2"/>
    <dgm:cxn modelId="{704A4738-B71E-4273-BF16-923A1DB64A3D}" type="presParOf" srcId="{14E067B4-8A8D-44D0-88DE-4622971A071F}" destId="{6CCBEE01-166D-4E78-B6F9-B8E0CE4128BA}" srcOrd="3" destOrd="0" presId="urn:microsoft.com/office/officeart/2005/8/layout/hierarchy2"/>
    <dgm:cxn modelId="{0553EF53-F6B7-43F2-9077-7B5A844404B3}" type="presParOf" srcId="{6CCBEE01-166D-4E78-B6F9-B8E0CE4128BA}" destId="{E5FD5451-7234-44C6-9B4F-22A8CC86502E}" srcOrd="0" destOrd="0" presId="urn:microsoft.com/office/officeart/2005/8/layout/hierarchy2"/>
    <dgm:cxn modelId="{5A4B3E97-A3C5-471C-A733-C7156D0606D2}" type="presParOf" srcId="{6CCBEE01-166D-4E78-B6F9-B8E0CE4128BA}" destId="{1119CE78-C669-4A06-99A9-E4159A6820C5}" srcOrd="1" destOrd="0" presId="urn:microsoft.com/office/officeart/2005/8/layout/hierarchy2"/>
    <dgm:cxn modelId="{A5BCAB42-92D5-4C04-BAD6-A96B3B28D5E2}" type="presParOf" srcId="{14E067B4-8A8D-44D0-88DE-4622971A071F}" destId="{18A8C619-A0A2-4238-A811-1083AF1F8427}" srcOrd="4" destOrd="0" presId="urn:microsoft.com/office/officeart/2005/8/layout/hierarchy2"/>
    <dgm:cxn modelId="{10D0F701-EFFE-434D-BAC4-04CC29BC20FB}" type="presParOf" srcId="{18A8C619-A0A2-4238-A811-1083AF1F8427}" destId="{AEF59868-8140-46BE-8BE2-78F77B447F39}" srcOrd="0" destOrd="0" presId="urn:microsoft.com/office/officeart/2005/8/layout/hierarchy2"/>
    <dgm:cxn modelId="{9B773A4C-C7BA-44A5-9907-05560BEAE996}" type="presParOf" srcId="{14E067B4-8A8D-44D0-88DE-4622971A071F}" destId="{C183E9B0-62F2-4E06-BF57-147745C25565}" srcOrd="5" destOrd="0" presId="urn:microsoft.com/office/officeart/2005/8/layout/hierarchy2"/>
    <dgm:cxn modelId="{A1C98981-D6F6-472D-A9F2-82EFA73F07DB}" type="presParOf" srcId="{C183E9B0-62F2-4E06-BF57-147745C25565}" destId="{B11EF92B-62A9-45F1-B52B-C2D92FF048A1}" srcOrd="0" destOrd="0" presId="urn:microsoft.com/office/officeart/2005/8/layout/hierarchy2"/>
    <dgm:cxn modelId="{E2B1F60E-F0C2-4180-882E-E99EED50EC75}" type="presParOf" srcId="{C183E9B0-62F2-4E06-BF57-147745C25565}" destId="{101071FD-877C-48D6-8570-0649AC1DABF8}"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126FF08-4D01-4CEF-81AD-99365428CE1E}"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en-US"/>
        </a:p>
      </dgm:t>
    </dgm:pt>
    <dgm:pt modelId="{1E847F6A-C1AD-48CA-9F3E-E489539F3E3D}">
      <dgm:prSet phldrT="[Text]"/>
      <dgm:spPr>
        <a:ln>
          <a:noFill/>
        </a:ln>
      </dgm:spPr>
      <dgm:t>
        <a:bodyPr/>
        <a:lstStyle/>
        <a:p>
          <a:r>
            <a:rPr lang="en-US" b="1" dirty="0" smtClean="0"/>
            <a:t> </a:t>
          </a:r>
          <a:endParaRPr lang="en-US" b="1" dirty="0"/>
        </a:p>
      </dgm:t>
    </dgm:pt>
    <dgm:pt modelId="{915390E2-5031-4B2F-8FBA-23C99EFD4C24}" type="parTrans" cxnId="{FFB28763-5D72-4178-8333-D12065702D84}">
      <dgm:prSet/>
      <dgm:spPr/>
      <dgm:t>
        <a:bodyPr/>
        <a:lstStyle/>
        <a:p>
          <a:endParaRPr lang="en-US" b="1"/>
        </a:p>
      </dgm:t>
    </dgm:pt>
    <dgm:pt modelId="{1ECFE996-94ED-49E8-A339-3CE32B9BD6CE}" type="sibTrans" cxnId="{FFB28763-5D72-4178-8333-D12065702D84}">
      <dgm:prSet/>
      <dgm:spPr/>
      <dgm:t>
        <a:bodyPr/>
        <a:lstStyle/>
        <a:p>
          <a:endParaRPr lang="en-US" b="1"/>
        </a:p>
      </dgm:t>
    </dgm:pt>
    <dgm:pt modelId="{93549285-74FD-4BB4-86AB-59B6BC822640}">
      <dgm:prSet phldrT="[Text]"/>
      <dgm:spPr>
        <a:solidFill>
          <a:schemeClr val="accent6">
            <a:lumMod val="75000"/>
          </a:schemeClr>
        </a:solidFill>
        <a:ln>
          <a:noFill/>
        </a:ln>
      </dgm:spPr>
      <dgm:t>
        <a:bodyPr/>
        <a:lstStyle/>
        <a:p>
          <a:r>
            <a:rPr lang="en-US" b="1" dirty="0" smtClean="0"/>
            <a:t>Firefox</a:t>
          </a:r>
          <a:endParaRPr lang="en-US" b="1" dirty="0"/>
        </a:p>
      </dgm:t>
    </dgm:pt>
    <dgm:pt modelId="{3D3A6F66-76F8-4E50-BD9D-54E05D163EFE}" type="parTrans" cxnId="{9D0E936F-BE4C-4208-942A-0B490EEDDF47}">
      <dgm:prSet/>
      <dgm:spPr>
        <a:solidFill>
          <a:schemeClr val="tx1"/>
        </a:solidFill>
      </dgm:spPr>
      <dgm:t>
        <a:bodyPr/>
        <a:lstStyle/>
        <a:p>
          <a:endParaRPr lang="en-US" b="1"/>
        </a:p>
      </dgm:t>
    </dgm:pt>
    <dgm:pt modelId="{956890F2-A0C9-41D1-8ADC-F8E88DF525CF}" type="sibTrans" cxnId="{9D0E936F-BE4C-4208-942A-0B490EEDDF47}">
      <dgm:prSet/>
      <dgm:spPr/>
      <dgm:t>
        <a:bodyPr/>
        <a:lstStyle/>
        <a:p>
          <a:endParaRPr lang="en-US" b="1"/>
        </a:p>
      </dgm:t>
    </dgm:pt>
    <dgm:pt modelId="{E44B8A1F-A95D-4858-8143-7F76DB19B00B}">
      <dgm:prSet phldrT="[Text]"/>
      <dgm:spPr>
        <a:solidFill>
          <a:schemeClr val="accent2">
            <a:lumMod val="75000"/>
          </a:schemeClr>
        </a:solidFill>
        <a:ln>
          <a:noFill/>
        </a:ln>
      </dgm:spPr>
      <dgm:t>
        <a:bodyPr/>
        <a:lstStyle/>
        <a:p>
          <a:r>
            <a:rPr lang="en-US" b="1" dirty="0" smtClean="0"/>
            <a:t>IE</a:t>
          </a:r>
          <a:endParaRPr lang="en-US" b="1" dirty="0"/>
        </a:p>
      </dgm:t>
    </dgm:pt>
    <dgm:pt modelId="{12438357-10A2-436A-91E4-7CC83E822740}" type="parTrans" cxnId="{3710E488-1E30-4426-8654-A4E8A454F4CC}">
      <dgm:prSet/>
      <dgm:spPr>
        <a:solidFill>
          <a:schemeClr val="tx1"/>
        </a:solidFill>
      </dgm:spPr>
      <dgm:t>
        <a:bodyPr/>
        <a:lstStyle/>
        <a:p>
          <a:endParaRPr lang="en-US" b="1"/>
        </a:p>
      </dgm:t>
    </dgm:pt>
    <dgm:pt modelId="{77709498-584F-4892-9C0F-A84E510F0B0C}" type="sibTrans" cxnId="{3710E488-1E30-4426-8654-A4E8A454F4CC}">
      <dgm:prSet/>
      <dgm:spPr/>
      <dgm:t>
        <a:bodyPr/>
        <a:lstStyle/>
        <a:p>
          <a:endParaRPr lang="en-US" b="1"/>
        </a:p>
      </dgm:t>
    </dgm:pt>
    <dgm:pt modelId="{A83E2BD1-BCD6-40CC-B503-501517B0A166}">
      <dgm:prSet phldrT="[Text]"/>
      <dgm:spPr>
        <a:solidFill>
          <a:srgbClr val="C00000"/>
        </a:solidFill>
        <a:ln>
          <a:noFill/>
        </a:ln>
      </dgm:spPr>
      <dgm:t>
        <a:bodyPr/>
        <a:lstStyle/>
        <a:p>
          <a:r>
            <a:rPr lang="en-US" b="1" dirty="0" smtClean="0"/>
            <a:t>Opera</a:t>
          </a:r>
          <a:endParaRPr lang="en-US" b="1" dirty="0"/>
        </a:p>
      </dgm:t>
    </dgm:pt>
    <dgm:pt modelId="{A52EAFEC-5999-4230-A687-3B39B11A5298}" type="parTrans" cxnId="{5528B14E-2CA4-40E5-B717-FF380DC6563C}">
      <dgm:prSet/>
      <dgm:spPr>
        <a:solidFill>
          <a:schemeClr val="tx1"/>
        </a:solidFill>
      </dgm:spPr>
      <dgm:t>
        <a:bodyPr/>
        <a:lstStyle/>
        <a:p>
          <a:endParaRPr lang="en-US" b="1"/>
        </a:p>
      </dgm:t>
    </dgm:pt>
    <dgm:pt modelId="{647A6020-39EC-4215-A65D-681636BDBEEC}" type="sibTrans" cxnId="{5528B14E-2CA4-40E5-B717-FF380DC6563C}">
      <dgm:prSet/>
      <dgm:spPr/>
      <dgm:t>
        <a:bodyPr/>
        <a:lstStyle/>
        <a:p>
          <a:endParaRPr lang="en-US" b="1"/>
        </a:p>
      </dgm:t>
    </dgm:pt>
    <dgm:pt modelId="{998B6738-A335-4900-8149-EE21AC6DBA77}">
      <dgm:prSet phldrT="[Text]"/>
      <dgm:spPr>
        <a:solidFill>
          <a:srgbClr val="7030A0"/>
        </a:solidFill>
        <a:ln>
          <a:noFill/>
        </a:ln>
      </dgm:spPr>
      <dgm:t>
        <a:bodyPr/>
        <a:lstStyle/>
        <a:p>
          <a:r>
            <a:rPr lang="en-US" b="1" dirty="0" smtClean="0"/>
            <a:t>iOS</a:t>
          </a:r>
          <a:endParaRPr lang="en-US" b="1" dirty="0"/>
        </a:p>
      </dgm:t>
    </dgm:pt>
    <dgm:pt modelId="{10A80862-E8F0-4950-AFE9-AC9B54ECC3A3}" type="parTrans" cxnId="{FF503A7F-A3CC-40B4-AF50-0C71ED400CE2}">
      <dgm:prSet/>
      <dgm:spPr>
        <a:solidFill>
          <a:schemeClr val="tx1"/>
        </a:solidFill>
      </dgm:spPr>
      <dgm:t>
        <a:bodyPr/>
        <a:lstStyle/>
        <a:p>
          <a:endParaRPr lang="en-US" b="1"/>
        </a:p>
      </dgm:t>
    </dgm:pt>
    <dgm:pt modelId="{34DE8B42-7D6B-486F-BC9C-31FCBCC1B948}" type="sibTrans" cxnId="{FF503A7F-A3CC-40B4-AF50-0C71ED400CE2}">
      <dgm:prSet/>
      <dgm:spPr/>
      <dgm:t>
        <a:bodyPr/>
        <a:lstStyle/>
        <a:p>
          <a:endParaRPr lang="en-US" b="1"/>
        </a:p>
      </dgm:t>
    </dgm:pt>
    <dgm:pt modelId="{C64E2F8A-B0A6-4E6E-B912-10E30CC20986}">
      <dgm:prSet phldrT="[Text]"/>
      <dgm:spPr>
        <a:solidFill>
          <a:schemeClr val="tx2">
            <a:lumMod val="75000"/>
          </a:schemeClr>
        </a:solidFill>
        <a:ln>
          <a:noFill/>
        </a:ln>
      </dgm:spPr>
      <dgm:t>
        <a:bodyPr/>
        <a:lstStyle/>
        <a:p>
          <a:r>
            <a:rPr lang="en-US" b="1" dirty="0" smtClean="0"/>
            <a:t>Chrome</a:t>
          </a:r>
          <a:endParaRPr lang="en-US" b="1" dirty="0"/>
        </a:p>
      </dgm:t>
    </dgm:pt>
    <dgm:pt modelId="{8285226F-C101-415D-BD47-D4789DE2C963}" type="parTrans" cxnId="{ADD180DA-1DF6-4F6B-89DB-81222070D6EB}">
      <dgm:prSet/>
      <dgm:spPr>
        <a:solidFill>
          <a:schemeClr val="tx1"/>
        </a:solidFill>
      </dgm:spPr>
      <dgm:t>
        <a:bodyPr/>
        <a:lstStyle/>
        <a:p>
          <a:endParaRPr lang="en-US" b="1"/>
        </a:p>
      </dgm:t>
    </dgm:pt>
    <dgm:pt modelId="{54A79B0D-5A21-4AF0-A9E6-43F9E3D36149}" type="sibTrans" cxnId="{ADD180DA-1DF6-4F6B-89DB-81222070D6EB}">
      <dgm:prSet/>
      <dgm:spPr/>
      <dgm:t>
        <a:bodyPr/>
        <a:lstStyle/>
        <a:p>
          <a:endParaRPr lang="en-US" b="1"/>
        </a:p>
      </dgm:t>
    </dgm:pt>
    <dgm:pt modelId="{A09CE478-65F2-486B-ACB3-34B8B4254044}">
      <dgm:prSet phldrT="[Text]"/>
      <dgm:spPr>
        <a:solidFill>
          <a:schemeClr val="accent5">
            <a:lumMod val="75000"/>
          </a:schemeClr>
        </a:solidFill>
        <a:ln>
          <a:noFill/>
        </a:ln>
      </dgm:spPr>
      <dgm:t>
        <a:bodyPr/>
        <a:lstStyle/>
        <a:p>
          <a:r>
            <a:rPr lang="en-US" b="1" dirty="0" smtClean="0"/>
            <a:t>Windows</a:t>
          </a:r>
          <a:endParaRPr lang="en-US" b="1" dirty="0"/>
        </a:p>
      </dgm:t>
    </dgm:pt>
    <dgm:pt modelId="{27A261C5-6011-43C0-AFEE-1CF0D47DB152}" type="parTrans" cxnId="{BA1B6BE8-399E-489D-AC39-8A5916282ECB}">
      <dgm:prSet/>
      <dgm:spPr>
        <a:solidFill>
          <a:schemeClr val="tx1"/>
        </a:solidFill>
      </dgm:spPr>
      <dgm:t>
        <a:bodyPr/>
        <a:lstStyle/>
        <a:p>
          <a:endParaRPr lang="en-US" b="1"/>
        </a:p>
      </dgm:t>
    </dgm:pt>
    <dgm:pt modelId="{350F9E21-BA1D-4975-9A64-232E7E8CD3C2}" type="sibTrans" cxnId="{BA1B6BE8-399E-489D-AC39-8A5916282ECB}">
      <dgm:prSet/>
      <dgm:spPr/>
      <dgm:t>
        <a:bodyPr/>
        <a:lstStyle/>
        <a:p>
          <a:endParaRPr lang="en-US" b="1"/>
        </a:p>
      </dgm:t>
    </dgm:pt>
    <dgm:pt modelId="{A5747A09-01BE-42A6-BD84-4E2889C7F4A6}">
      <dgm:prSet phldrT="[Text]"/>
      <dgm:spPr>
        <a:solidFill>
          <a:schemeClr val="accent3">
            <a:lumMod val="75000"/>
          </a:schemeClr>
        </a:solidFill>
        <a:ln>
          <a:noFill/>
        </a:ln>
      </dgm:spPr>
      <dgm:t>
        <a:bodyPr/>
        <a:lstStyle/>
        <a:p>
          <a:r>
            <a:rPr lang="en-US" b="1" dirty="0" smtClean="0"/>
            <a:t>Android</a:t>
          </a:r>
          <a:endParaRPr lang="en-US" b="1" dirty="0"/>
        </a:p>
      </dgm:t>
    </dgm:pt>
    <dgm:pt modelId="{486F991E-E676-484A-B90B-91DEA83C882E}" type="parTrans" cxnId="{3D195AD6-B776-4DD8-8315-5904FFFE9307}">
      <dgm:prSet/>
      <dgm:spPr>
        <a:solidFill>
          <a:schemeClr val="tx1"/>
        </a:solidFill>
      </dgm:spPr>
      <dgm:t>
        <a:bodyPr/>
        <a:lstStyle/>
        <a:p>
          <a:endParaRPr lang="en-US" b="1"/>
        </a:p>
      </dgm:t>
    </dgm:pt>
    <dgm:pt modelId="{F728713B-9251-4A68-B040-33B92C116449}" type="sibTrans" cxnId="{3D195AD6-B776-4DD8-8315-5904FFFE9307}">
      <dgm:prSet/>
      <dgm:spPr/>
      <dgm:t>
        <a:bodyPr/>
        <a:lstStyle/>
        <a:p>
          <a:endParaRPr lang="en-US" b="1"/>
        </a:p>
      </dgm:t>
    </dgm:pt>
    <dgm:pt modelId="{40A9E092-7609-491A-BB93-6523253E6281}">
      <dgm:prSet phldrT="[Text]"/>
      <dgm:spPr>
        <a:solidFill>
          <a:schemeClr val="accent4">
            <a:lumMod val="75000"/>
          </a:schemeClr>
        </a:solidFill>
        <a:ln>
          <a:noFill/>
        </a:ln>
      </dgm:spPr>
      <dgm:t>
        <a:bodyPr/>
        <a:lstStyle/>
        <a:p>
          <a:r>
            <a:rPr lang="en-US" b="1" dirty="0" smtClean="0"/>
            <a:t>BlackBerry</a:t>
          </a:r>
          <a:endParaRPr lang="en-US" b="1" dirty="0"/>
        </a:p>
      </dgm:t>
    </dgm:pt>
    <dgm:pt modelId="{B5B3CB01-900E-413A-828A-23510C7114CA}" type="parTrans" cxnId="{3A677510-ACD6-4E58-90E0-3B8B7EAA43AE}">
      <dgm:prSet/>
      <dgm:spPr>
        <a:solidFill>
          <a:schemeClr val="tx1"/>
        </a:solidFill>
      </dgm:spPr>
      <dgm:t>
        <a:bodyPr/>
        <a:lstStyle/>
        <a:p>
          <a:endParaRPr lang="en-US" b="1"/>
        </a:p>
      </dgm:t>
    </dgm:pt>
    <dgm:pt modelId="{52164866-9280-4BA5-84BA-D33F301940E1}" type="sibTrans" cxnId="{3A677510-ACD6-4E58-90E0-3B8B7EAA43AE}">
      <dgm:prSet/>
      <dgm:spPr/>
      <dgm:t>
        <a:bodyPr/>
        <a:lstStyle/>
        <a:p>
          <a:endParaRPr lang="en-US" b="1"/>
        </a:p>
      </dgm:t>
    </dgm:pt>
    <dgm:pt modelId="{778DCD8C-79C1-4F96-8735-F37BD0880F50}" type="pres">
      <dgm:prSet presAssocID="{8126FF08-4D01-4CEF-81AD-99365428CE1E}" presName="Name0" presStyleCnt="0">
        <dgm:presLayoutVars>
          <dgm:chMax val="1"/>
          <dgm:dir/>
          <dgm:animLvl val="ctr"/>
          <dgm:resizeHandles val="exact"/>
        </dgm:presLayoutVars>
      </dgm:prSet>
      <dgm:spPr/>
      <dgm:t>
        <a:bodyPr/>
        <a:lstStyle/>
        <a:p>
          <a:endParaRPr lang="en-US"/>
        </a:p>
      </dgm:t>
    </dgm:pt>
    <dgm:pt modelId="{39204A80-DB2B-47B6-9961-9DD841F90E43}" type="pres">
      <dgm:prSet presAssocID="{1E847F6A-C1AD-48CA-9F3E-E489539F3E3D}" presName="centerShape" presStyleLbl="node0" presStyleIdx="0" presStyleCnt="1"/>
      <dgm:spPr/>
      <dgm:t>
        <a:bodyPr/>
        <a:lstStyle/>
        <a:p>
          <a:endParaRPr lang="en-US"/>
        </a:p>
      </dgm:t>
    </dgm:pt>
    <dgm:pt modelId="{A2DD97F2-93B1-46C0-A0B9-B00DE1A63D59}" type="pres">
      <dgm:prSet presAssocID="{3D3A6F66-76F8-4E50-BD9D-54E05D163EFE}" presName="parTrans" presStyleLbl="sibTrans2D1" presStyleIdx="0" presStyleCnt="8"/>
      <dgm:spPr/>
      <dgm:t>
        <a:bodyPr/>
        <a:lstStyle/>
        <a:p>
          <a:endParaRPr lang="en-US"/>
        </a:p>
      </dgm:t>
    </dgm:pt>
    <dgm:pt modelId="{417B99C3-60F6-4C76-9119-FCDFEC3BF09B}" type="pres">
      <dgm:prSet presAssocID="{3D3A6F66-76F8-4E50-BD9D-54E05D163EFE}" presName="connectorText" presStyleLbl="sibTrans2D1" presStyleIdx="0" presStyleCnt="8"/>
      <dgm:spPr/>
      <dgm:t>
        <a:bodyPr/>
        <a:lstStyle/>
        <a:p>
          <a:endParaRPr lang="en-US"/>
        </a:p>
      </dgm:t>
    </dgm:pt>
    <dgm:pt modelId="{6C6BB763-0BC1-4949-A01F-7564922885FC}" type="pres">
      <dgm:prSet presAssocID="{93549285-74FD-4BB4-86AB-59B6BC822640}" presName="node" presStyleLbl="node1" presStyleIdx="0" presStyleCnt="8">
        <dgm:presLayoutVars>
          <dgm:bulletEnabled val="1"/>
        </dgm:presLayoutVars>
      </dgm:prSet>
      <dgm:spPr/>
      <dgm:t>
        <a:bodyPr/>
        <a:lstStyle/>
        <a:p>
          <a:endParaRPr lang="en-US"/>
        </a:p>
      </dgm:t>
    </dgm:pt>
    <dgm:pt modelId="{49A76C73-76F6-4A46-959C-56C016E590A9}" type="pres">
      <dgm:prSet presAssocID="{27A261C5-6011-43C0-AFEE-1CF0D47DB152}" presName="parTrans" presStyleLbl="sibTrans2D1" presStyleIdx="1" presStyleCnt="8"/>
      <dgm:spPr/>
      <dgm:t>
        <a:bodyPr/>
        <a:lstStyle/>
        <a:p>
          <a:endParaRPr lang="en-US"/>
        </a:p>
      </dgm:t>
    </dgm:pt>
    <dgm:pt modelId="{F0A36150-0CAC-430D-9818-CAD7FEC78776}" type="pres">
      <dgm:prSet presAssocID="{27A261C5-6011-43C0-AFEE-1CF0D47DB152}" presName="connectorText" presStyleLbl="sibTrans2D1" presStyleIdx="1" presStyleCnt="8"/>
      <dgm:spPr/>
      <dgm:t>
        <a:bodyPr/>
        <a:lstStyle/>
        <a:p>
          <a:endParaRPr lang="en-US"/>
        </a:p>
      </dgm:t>
    </dgm:pt>
    <dgm:pt modelId="{96E38A9B-989C-4918-A044-59BAEFECB8D3}" type="pres">
      <dgm:prSet presAssocID="{A09CE478-65F2-486B-ACB3-34B8B4254044}" presName="node" presStyleLbl="node1" presStyleIdx="1" presStyleCnt="8">
        <dgm:presLayoutVars>
          <dgm:bulletEnabled val="1"/>
        </dgm:presLayoutVars>
      </dgm:prSet>
      <dgm:spPr/>
      <dgm:t>
        <a:bodyPr/>
        <a:lstStyle/>
        <a:p>
          <a:endParaRPr lang="en-US"/>
        </a:p>
      </dgm:t>
    </dgm:pt>
    <dgm:pt modelId="{1CEAA46F-A870-4292-893F-D13B84534D11}" type="pres">
      <dgm:prSet presAssocID="{B5B3CB01-900E-413A-828A-23510C7114CA}" presName="parTrans" presStyleLbl="sibTrans2D1" presStyleIdx="2" presStyleCnt="8"/>
      <dgm:spPr/>
      <dgm:t>
        <a:bodyPr/>
        <a:lstStyle/>
        <a:p>
          <a:endParaRPr lang="en-US"/>
        </a:p>
      </dgm:t>
    </dgm:pt>
    <dgm:pt modelId="{920F1B5A-D62C-42CE-8B37-9933F27FA40F}" type="pres">
      <dgm:prSet presAssocID="{B5B3CB01-900E-413A-828A-23510C7114CA}" presName="connectorText" presStyleLbl="sibTrans2D1" presStyleIdx="2" presStyleCnt="8"/>
      <dgm:spPr/>
      <dgm:t>
        <a:bodyPr/>
        <a:lstStyle/>
        <a:p>
          <a:endParaRPr lang="en-US"/>
        </a:p>
      </dgm:t>
    </dgm:pt>
    <dgm:pt modelId="{E503EA63-760A-4169-894C-2FD6CE9303BA}" type="pres">
      <dgm:prSet presAssocID="{40A9E092-7609-491A-BB93-6523253E6281}" presName="node" presStyleLbl="node1" presStyleIdx="2" presStyleCnt="8">
        <dgm:presLayoutVars>
          <dgm:bulletEnabled val="1"/>
        </dgm:presLayoutVars>
      </dgm:prSet>
      <dgm:spPr/>
      <dgm:t>
        <a:bodyPr/>
        <a:lstStyle/>
        <a:p>
          <a:endParaRPr lang="en-US"/>
        </a:p>
      </dgm:t>
    </dgm:pt>
    <dgm:pt modelId="{BC6DA643-3968-4713-84C4-0838C2A09143}" type="pres">
      <dgm:prSet presAssocID="{486F991E-E676-484A-B90B-91DEA83C882E}" presName="parTrans" presStyleLbl="sibTrans2D1" presStyleIdx="3" presStyleCnt="8"/>
      <dgm:spPr/>
      <dgm:t>
        <a:bodyPr/>
        <a:lstStyle/>
        <a:p>
          <a:endParaRPr lang="en-US"/>
        </a:p>
      </dgm:t>
    </dgm:pt>
    <dgm:pt modelId="{FCF676E5-7B9B-4AC1-B084-77B079C223F5}" type="pres">
      <dgm:prSet presAssocID="{486F991E-E676-484A-B90B-91DEA83C882E}" presName="connectorText" presStyleLbl="sibTrans2D1" presStyleIdx="3" presStyleCnt="8"/>
      <dgm:spPr/>
      <dgm:t>
        <a:bodyPr/>
        <a:lstStyle/>
        <a:p>
          <a:endParaRPr lang="en-US"/>
        </a:p>
      </dgm:t>
    </dgm:pt>
    <dgm:pt modelId="{B99CF4DB-CC93-4A33-8255-470088900820}" type="pres">
      <dgm:prSet presAssocID="{A5747A09-01BE-42A6-BD84-4E2889C7F4A6}" presName="node" presStyleLbl="node1" presStyleIdx="3" presStyleCnt="8">
        <dgm:presLayoutVars>
          <dgm:bulletEnabled val="1"/>
        </dgm:presLayoutVars>
      </dgm:prSet>
      <dgm:spPr/>
      <dgm:t>
        <a:bodyPr/>
        <a:lstStyle/>
        <a:p>
          <a:endParaRPr lang="en-US"/>
        </a:p>
      </dgm:t>
    </dgm:pt>
    <dgm:pt modelId="{2B81745D-D665-4DCD-B015-22BC6122468F}" type="pres">
      <dgm:prSet presAssocID="{12438357-10A2-436A-91E4-7CC83E822740}" presName="parTrans" presStyleLbl="sibTrans2D1" presStyleIdx="4" presStyleCnt="8"/>
      <dgm:spPr/>
      <dgm:t>
        <a:bodyPr/>
        <a:lstStyle/>
        <a:p>
          <a:endParaRPr lang="en-US"/>
        </a:p>
      </dgm:t>
    </dgm:pt>
    <dgm:pt modelId="{C5CBE90D-067E-4BDA-ADF4-F745416854F7}" type="pres">
      <dgm:prSet presAssocID="{12438357-10A2-436A-91E4-7CC83E822740}" presName="connectorText" presStyleLbl="sibTrans2D1" presStyleIdx="4" presStyleCnt="8"/>
      <dgm:spPr/>
      <dgm:t>
        <a:bodyPr/>
        <a:lstStyle/>
        <a:p>
          <a:endParaRPr lang="en-US"/>
        </a:p>
      </dgm:t>
    </dgm:pt>
    <dgm:pt modelId="{28617CF1-E33A-4DEE-A50B-08A1F5033687}" type="pres">
      <dgm:prSet presAssocID="{E44B8A1F-A95D-4858-8143-7F76DB19B00B}" presName="node" presStyleLbl="node1" presStyleIdx="4" presStyleCnt="8">
        <dgm:presLayoutVars>
          <dgm:bulletEnabled val="1"/>
        </dgm:presLayoutVars>
      </dgm:prSet>
      <dgm:spPr/>
      <dgm:t>
        <a:bodyPr/>
        <a:lstStyle/>
        <a:p>
          <a:endParaRPr lang="en-US"/>
        </a:p>
      </dgm:t>
    </dgm:pt>
    <dgm:pt modelId="{D0438F43-7C0A-4653-B55B-5B0B0F15B82E}" type="pres">
      <dgm:prSet presAssocID="{8285226F-C101-415D-BD47-D4789DE2C963}" presName="parTrans" presStyleLbl="sibTrans2D1" presStyleIdx="5" presStyleCnt="8"/>
      <dgm:spPr/>
      <dgm:t>
        <a:bodyPr/>
        <a:lstStyle/>
        <a:p>
          <a:endParaRPr lang="en-US"/>
        </a:p>
      </dgm:t>
    </dgm:pt>
    <dgm:pt modelId="{32A86ABA-4369-4E94-BA9B-FB4AACA5DFEF}" type="pres">
      <dgm:prSet presAssocID="{8285226F-C101-415D-BD47-D4789DE2C963}" presName="connectorText" presStyleLbl="sibTrans2D1" presStyleIdx="5" presStyleCnt="8"/>
      <dgm:spPr/>
      <dgm:t>
        <a:bodyPr/>
        <a:lstStyle/>
        <a:p>
          <a:endParaRPr lang="en-US"/>
        </a:p>
      </dgm:t>
    </dgm:pt>
    <dgm:pt modelId="{F68D4542-9BF2-4BD8-B331-38F9987E954C}" type="pres">
      <dgm:prSet presAssocID="{C64E2F8A-B0A6-4E6E-B912-10E30CC20986}" presName="node" presStyleLbl="node1" presStyleIdx="5" presStyleCnt="8">
        <dgm:presLayoutVars>
          <dgm:bulletEnabled val="1"/>
        </dgm:presLayoutVars>
      </dgm:prSet>
      <dgm:spPr/>
      <dgm:t>
        <a:bodyPr/>
        <a:lstStyle/>
        <a:p>
          <a:endParaRPr lang="en-US"/>
        </a:p>
      </dgm:t>
    </dgm:pt>
    <dgm:pt modelId="{0386507A-25E5-4D31-9EB9-6F4D9A06D798}" type="pres">
      <dgm:prSet presAssocID="{A52EAFEC-5999-4230-A687-3B39B11A5298}" presName="parTrans" presStyleLbl="sibTrans2D1" presStyleIdx="6" presStyleCnt="8"/>
      <dgm:spPr/>
      <dgm:t>
        <a:bodyPr/>
        <a:lstStyle/>
        <a:p>
          <a:endParaRPr lang="en-US"/>
        </a:p>
      </dgm:t>
    </dgm:pt>
    <dgm:pt modelId="{1D9AE518-3838-4010-AE2F-359C57D613B3}" type="pres">
      <dgm:prSet presAssocID="{A52EAFEC-5999-4230-A687-3B39B11A5298}" presName="connectorText" presStyleLbl="sibTrans2D1" presStyleIdx="6" presStyleCnt="8"/>
      <dgm:spPr/>
      <dgm:t>
        <a:bodyPr/>
        <a:lstStyle/>
        <a:p>
          <a:endParaRPr lang="en-US"/>
        </a:p>
      </dgm:t>
    </dgm:pt>
    <dgm:pt modelId="{55C6F64B-AC11-47CE-850F-C379AA0222CC}" type="pres">
      <dgm:prSet presAssocID="{A83E2BD1-BCD6-40CC-B503-501517B0A166}" presName="node" presStyleLbl="node1" presStyleIdx="6" presStyleCnt="8">
        <dgm:presLayoutVars>
          <dgm:bulletEnabled val="1"/>
        </dgm:presLayoutVars>
      </dgm:prSet>
      <dgm:spPr/>
      <dgm:t>
        <a:bodyPr/>
        <a:lstStyle/>
        <a:p>
          <a:endParaRPr lang="en-US"/>
        </a:p>
      </dgm:t>
    </dgm:pt>
    <dgm:pt modelId="{FC5299C3-0E96-4A07-AD92-0103ECB7ED49}" type="pres">
      <dgm:prSet presAssocID="{10A80862-E8F0-4950-AFE9-AC9B54ECC3A3}" presName="parTrans" presStyleLbl="sibTrans2D1" presStyleIdx="7" presStyleCnt="8"/>
      <dgm:spPr/>
      <dgm:t>
        <a:bodyPr/>
        <a:lstStyle/>
        <a:p>
          <a:endParaRPr lang="en-US"/>
        </a:p>
      </dgm:t>
    </dgm:pt>
    <dgm:pt modelId="{94364C3A-531E-4B2F-B04C-7168B4ABD27E}" type="pres">
      <dgm:prSet presAssocID="{10A80862-E8F0-4950-AFE9-AC9B54ECC3A3}" presName="connectorText" presStyleLbl="sibTrans2D1" presStyleIdx="7" presStyleCnt="8"/>
      <dgm:spPr/>
      <dgm:t>
        <a:bodyPr/>
        <a:lstStyle/>
        <a:p>
          <a:endParaRPr lang="en-US"/>
        </a:p>
      </dgm:t>
    </dgm:pt>
    <dgm:pt modelId="{AB681D3F-7C34-4FEE-AE70-EFBE574565E8}" type="pres">
      <dgm:prSet presAssocID="{998B6738-A335-4900-8149-EE21AC6DBA77}" presName="node" presStyleLbl="node1" presStyleIdx="7" presStyleCnt="8">
        <dgm:presLayoutVars>
          <dgm:bulletEnabled val="1"/>
        </dgm:presLayoutVars>
      </dgm:prSet>
      <dgm:spPr/>
      <dgm:t>
        <a:bodyPr/>
        <a:lstStyle/>
        <a:p>
          <a:endParaRPr lang="en-US"/>
        </a:p>
      </dgm:t>
    </dgm:pt>
  </dgm:ptLst>
  <dgm:cxnLst>
    <dgm:cxn modelId="{8F013A66-0406-4FAE-8E08-1787CB421101}" type="presOf" srcId="{12438357-10A2-436A-91E4-7CC83E822740}" destId="{C5CBE90D-067E-4BDA-ADF4-F745416854F7}" srcOrd="1" destOrd="0" presId="urn:microsoft.com/office/officeart/2005/8/layout/radial5"/>
    <dgm:cxn modelId="{4D7B15FC-200C-4424-94C4-DCBE36556065}" type="presOf" srcId="{3D3A6F66-76F8-4E50-BD9D-54E05D163EFE}" destId="{417B99C3-60F6-4C76-9119-FCDFEC3BF09B}" srcOrd="1" destOrd="0" presId="urn:microsoft.com/office/officeart/2005/8/layout/radial5"/>
    <dgm:cxn modelId="{7B506851-E2C6-480F-967E-739F9B8E4F8F}" type="presOf" srcId="{1E847F6A-C1AD-48CA-9F3E-E489539F3E3D}" destId="{39204A80-DB2B-47B6-9961-9DD841F90E43}" srcOrd="0" destOrd="0" presId="urn:microsoft.com/office/officeart/2005/8/layout/radial5"/>
    <dgm:cxn modelId="{F93AE7BF-F481-4735-955A-0428F7D38936}" type="presOf" srcId="{12438357-10A2-436A-91E4-7CC83E822740}" destId="{2B81745D-D665-4DCD-B015-22BC6122468F}" srcOrd="0" destOrd="0" presId="urn:microsoft.com/office/officeart/2005/8/layout/radial5"/>
    <dgm:cxn modelId="{9D0E936F-BE4C-4208-942A-0B490EEDDF47}" srcId="{1E847F6A-C1AD-48CA-9F3E-E489539F3E3D}" destId="{93549285-74FD-4BB4-86AB-59B6BC822640}" srcOrd="0" destOrd="0" parTransId="{3D3A6F66-76F8-4E50-BD9D-54E05D163EFE}" sibTransId="{956890F2-A0C9-41D1-8ADC-F8E88DF525CF}"/>
    <dgm:cxn modelId="{2A1BA6AC-E698-46A5-B631-3D9A152B052C}" type="presOf" srcId="{A83E2BD1-BCD6-40CC-B503-501517B0A166}" destId="{55C6F64B-AC11-47CE-850F-C379AA0222CC}" srcOrd="0" destOrd="0" presId="urn:microsoft.com/office/officeart/2005/8/layout/radial5"/>
    <dgm:cxn modelId="{3710E488-1E30-4426-8654-A4E8A454F4CC}" srcId="{1E847F6A-C1AD-48CA-9F3E-E489539F3E3D}" destId="{E44B8A1F-A95D-4858-8143-7F76DB19B00B}" srcOrd="4" destOrd="0" parTransId="{12438357-10A2-436A-91E4-7CC83E822740}" sibTransId="{77709498-584F-4892-9C0F-A84E510F0B0C}"/>
    <dgm:cxn modelId="{A8E23965-D9D3-4232-B22D-E02162BED0D6}" type="presOf" srcId="{40A9E092-7609-491A-BB93-6523253E6281}" destId="{E503EA63-760A-4169-894C-2FD6CE9303BA}" srcOrd="0" destOrd="0" presId="urn:microsoft.com/office/officeart/2005/8/layout/radial5"/>
    <dgm:cxn modelId="{DBB7443E-3F92-4292-928C-3CF303821A02}" type="presOf" srcId="{B5B3CB01-900E-413A-828A-23510C7114CA}" destId="{920F1B5A-D62C-42CE-8B37-9933F27FA40F}" srcOrd="1" destOrd="0" presId="urn:microsoft.com/office/officeart/2005/8/layout/radial5"/>
    <dgm:cxn modelId="{E131FC6D-A067-462C-A53B-B91F9A9E096E}" type="presOf" srcId="{27A261C5-6011-43C0-AFEE-1CF0D47DB152}" destId="{49A76C73-76F6-4A46-959C-56C016E590A9}" srcOrd="0" destOrd="0" presId="urn:microsoft.com/office/officeart/2005/8/layout/radial5"/>
    <dgm:cxn modelId="{DC8B60A9-7305-4C98-B49B-831201239561}" type="presOf" srcId="{E44B8A1F-A95D-4858-8143-7F76DB19B00B}" destId="{28617CF1-E33A-4DEE-A50B-08A1F5033687}" srcOrd="0" destOrd="0" presId="urn:microsoft.com/office/officeart/2005/8/layout/radial5"/>
    <dgm:cxn modelId="{FFB28763-5D72-4178-8333-D12065702D84}" srcId="{8126FF08-4D01-4CEF-81AD-99365428CE1E}" destId="{1E847F6A-C1AD-48CA-9F3E-E489539F3E3D}" srcOrd="0" destOrd="0" parTransId="{915390E2-5031-4B2F-8FBA-23C99EFD4C24}" sibTransId="{1ECFE996-94ED-49E8-A339-3CE32B9BD6CE}"/>
    <dgm:cxn modelId="{F4A0022B-0001-4417-89E2-80C12A37E9D4}" type="presOf" srcId="{486F991E-E676-484A-B90B-91DEA83C882E}" destId="{FCF676E5-7B9B-4AC1-B084-77B079C223F5}" srcOrd="1" destOrd="0" presId="urn:microsoft.com/office/officeart/2005/8/layout/radial5"/>
    <dgm:cxn modelId="{67FB7A07-5055-4B39-AA1D-E7974A174A26}" type="presOf" srcId="{A52EAFEC-5999-4230-A687-3B39B11A5298}" destId="{1D9AE518-3838-4010-AE2F-359C57D613B3}" srcOrd="1" destOrd="0" presId="urn:microsoft.com/office/officeart/2005/8/layout/radial5"/>
    <dgm:cxn modelId="{4E90A4CF-2923-4892-AC31-9F0CE20E4DF4}" type="presOf" srcId="{A09CE478-65F2-486B-ACB3-34B8B4254044}" destId="{96E38A9B-989C-4918-A044-59BAEFECB8D3}" srcOrd="0" destOrd="0" presId="urn:microsoft.com/office/officeart/2005/8/layout/radial5"/>
    <dgm:cxn modelId="{FA31FEE8-81C0-4E64-B171-D9F46C948F13}" type="presOf" srcId="{C64E2F8A-B0A6-4E6E-B912-10E30CC20986}" destId="{F68D4542-9BF2-4BD8-B331-38F9987E954C}" srcOrd="0" destOrd="0" presId="urn:microsoft.com/office/officeart/2005/8/layout/radial5"/>
    <dgm:cxn modelId="{F120E1A3-65D3-42BC-A9C3-E02CE97E567E}" type="presOf" srcId="{A5747A09-01BE-42A6-BD84-4E2889C7F4A6}" destId="{B99CF4DB-CC93-4A33-8255-470088900820}" srcOrd="0" destOrd="0" presId="urn:microsoft.com/office/officeart/2005/8/layout/radial5"/>
    <dgm:cxn modelId="{7EB0D754-61F2-4E43-BFB4-D22432731066}" type="presOf" srcId="{10A80862-E8F0-4950-AFE9-AC9B54ECC3A3}" destId="{94364C3A-531E-4B2F-B04C-7168B4ABD27E}" srcOrd="1" destOrd="0" presId="urn:microsoft.com/office/officeart/2005/8/layout/radial5"/>
    <dgm:cxn modelId="{68F19E42-16D0-41FE-A1AA-E229FB6E7DBB}" type="presOf" srcId="{B5B3CB01-900E-413A-828A-23510C7114CA}" destId="{1CEAA46F-A870-4292-893F-D13B84534D11}" srcOrd="0" destOrd="0" presId="urn:microsoft.com/office/officeart/2005/8/layout/radial5"/>
    <dgm:cxn modelId="{12BEBF59-70CA-4897-85EE-B47007FF5EA7}" type="presOf" srcId="{93549285-74FD-4BB4-86AB-59B6BC822640}" destId="{6C6BB763-0BC1-4949-A01F-7564922885FC}" srcOrd="0" destOrd="0" presId="urn:microsoft.com/office/officeart/2005/8/layout/radial5"/>
    <dgm:cxn modelId="{3D195AD6-B776-4DD8-8315-5904FFFE9307}" srcId="{1E847F6A-C1AD-48CA-9F3E-E489539F3E3D}" destId="{A5747A09-01BE-42A6-BD84-4E2889C7F4A6}" srcOrd="3" destOrd="0" parTransId="{486F991E-E676-484A-B90B-91DEA83C882E}" sibTransId="{F728713B-9251-4A68-B040-33B92C116449}"/>
    <dgm:cxn modelId="{5528B14E-2CA4-40E5-B717-FF380DC6563C}" srcId="{1E847F6A-C1AD-48CA-9F3E-E489539F3E3D}" destId="{A83E2BD1-BCD6-40CC-B503-501517B0A166}" srcOrd="6" destOrd="0" parTransId="{A52EAFEC-5999-4230-A687-3B39B11A5298}" sibTransId="{647A6020-39EC-4215-A65D-681636BDBEEC}"/>
    <dgm:cxn modelId="{3042DFF3-286A-45B4-B3F1-EFC837DA3773}" type="presOf" srcId="{27A261C5-6011-43C0-AFEE-1CF0D47DB152}" destId="{F0A36150-0CAC-430D-9818-CAD7FEC78776}" srcOrd="1" destOrd="0" presId="urn:microsoft.com/office/officeart/2005/8/layout/radial5"/>
    <dgm:cxn modelId="{E26C5A5F-A705-4563-9237-5ABA7275E188}" type="presOf" srcId="{998B6738-A335-4900-8149-EE21AC6DBA77}" destId="{AB681D3F-7C34-4FEE-AE70-EFBE574565E8}" srcOrd="0" destOrd="0" presId="urn:microsoft.com/office/officeart/2005/8/layout/radial5"/>
    <dgm:cxn modelId="{01C092AC-FF75-47FB-A980-6517187AA9B3}" type="presOf" srcId="{8285226F-C101-415D-BD47-D4789DE2C963}" destId="{32A86ABA-4369-4E94-BA9B-FB4AACA5DFEF}" srcOrd="1" destOrd="0" presId="urn:microsoft.com/office/officeart/2005/8/layout/radial5"/>
    <dgm:cxn modelId="{5AED865C-61DB-4593-A6EC-B348182CF293}" type="presOf" srcId="{8285226F-C101-415D-BD47-D4789DE2C963}" destId="{D0438F43-7C0A-4653-B55B-5B0B0F15B82E}" srcOrd="0" destOrd="0" presId="urn:microsoft.com/office/officeart/2005/8/layout/radial5"/>
    <dgm:cxn modelId="{FF503A7F-A3CC-40B4-AF50-0C71ED400CE2}" srcId="{1E847F6A-C1AD-48CA-9F3E-E489539F3E3D}" destId="{998B6738-A335-4900-8149-EE21AC6DBA77}" srcOrd="7" destOrd="0" parTransId="{10A80862-E8F0-4950-AFE9-AC9B54ECC3A3}" sibTransId="{34DE8B42-7D6B-486F-BC9C-31FCBCC1B948}"/>
    <dgm:cxn modelId="{C089EBCE-A9BB-42C8-BCF6-9652414568A3}" type="presOf" srcId="{486F991E-E676-484A-B90B-91DEA83C882E}" destId="{BC6DA643-3968-4713-84C4-0838C2A09143}" srcOrd="0" destOrd="0" presId="urn:microsoft.com/office/officeart/2005/8/layout/radial5"/>
    <dgm:cxn modelId="{68B86060-EF4E-41A9-9DCA-BCF5AF85EBBA}" type="presOf" srcId="{10A80862-E8F0-4950-AFE9-AC9B54ECC3A3}" destId="{FC5299C3-0E96-4A07-AD92-0103ECB7ED49}" srcOrd="0" destOrd="0" presId="urn:microsoft.com/office/officeart/2005/8/layout/radial5"/>
    <dgm:cxn modelId="{BA1B6BE8-399E-489D-AC39-8A5916282ECB}" srcId="{1E847F6A-C1AD-48CA-9F3E-E489539F3E3D}" destId="{A09CE478-65F2-486B-ACB3-34B8B4254044}" srcOrd="1" destOrd="0" parTransId="{27A261C5-6011-43C0-AFEE-1CF0D47DB152}" sibTransId="{350F9E21-BA1D-4975-9A64-232E7E8CD3C2}"/>
    <dgm:cxn modelId="{EAD33D0F-A1B8-4F4F-9E24-8D043CB66A0C}" type="presOf" srcId="{8126FF08-4D01-4CEF-81AD-99365428CE1E}" destId="{778DCD8C-79C1-4F96-8735-F37BD0880F50}" srcOrd="0" destOrd="0" presId="urn:microsoft.com/office/officeart/2005/8/layout/radial5"/>
    <dgm:cxn modelId="{8D248014-A4A8-405C-9812-400F002B0DE1}" type="presOf" srcId="{3D3A6F66-76F8-4E50-BD9D-54E05D163EFE}" destId="{A2DD97F2-93B1-46C0-A0B9-B00DE1A63D59}" srcOrd="0" destOrd="0" presId="urn:microsoft.com/office/officeart/2005/8/layout/radial5"/>
    <dgm:cxn modelId="{2993A70C-75CE-449D-ADBC-C86C5D866B61}" type="presOf" srcId="{A52EAFEC-5999-4230-A687-3B39B11A5298}" destId="{0386507A-25E5-4D31-9EB9-6F4D9A06D798}" srcOrd="0" destOrd="0" presId="urn:microsoft.com/office/officeart/2005/8/layout/radial5"/>
    <dgm:cxn modelId="{3A677510-ACD6-4E58-90E0-3B8B7EAA43AE}" srcId="{1E847F6A-C1AD-48CA-9F3E-E489539F3E3D}" destId="{40A9E092-7609-491A-BB93-6523253E6281}" srcOrd="2" destOrd="0" parTransId="{B5B3CB01-900E-413A-828A-23510C7114CA}" sibTransId="{52164866-9280-4BA5-84BA-D33F301940E1}"/>
    <dgm:cxn modelId="{ADD180DA-1DF6-4F6B-89DB-81222070D6EB}" srcId="{1E847F6A-C1AD-48CA-9F3E-E489539F3E3D}" destId="{C64E2F8A-B0A6-4E6E-B912-10E30CC20986}" srcOrd="5" destOrd="0" parTransId="{8285226F-C101-415D-BD47-D4789DE2C963}" sibTransId="{54A79B0D-5A21-4AF0-A9E6-43F9E3D36149}"/>
    <dgm:cxn modelId="{D5AE18EF-A2FB-4332-8543-2AD68020C2A8}" type="presParOf" srcId="{778DCD8C-79C1-4F96-8735-F37BD0880F50}" destId="{39204A80-DB2B-47B6-9961-9DD841F90E43}" srcOrd="0" destOrd="0" presId="urn:microsoft.com/office/officeart/2005/8/layout/radial5"/>
    <dgm:cxn modelId="{35D1BBF9-A2FF-46E3-BD05-386537C4750E}" type="presParOf" srcId="{778DCD8C-79C1-4F96-8735-F37BD0880F50}" destId="{A2DD97F2-93B1-46C0-A0B9-B00DE1A63D59}" srcOrd="1" destOrd="0" presId="urn:microsoft.com/office/officeart/2005/8/layout/radial5"/>
    <dgm:cxn modelId="{36973EBC-3060-413A-9343-618D0333D8F0}" type="presParOf" srcId="{A2DD97F2-93B1-46C0-A0B9-B00DE1A63D59}" destId="{417B99C3-60F6-4C76-9119-FCDFEC3BF09B}" srcOrd="0" destOrd="0" presId="urn:microsoft.com/office/officeart/2005/8/layout/radial5"/>
    <dgm:cxn modelId="{C411ECD7-58B6-492E-BF05-DA28F4CDCA6A}" type="presParOf" srcId="{778DCD8C-79C1-4F96-8735-F37BD0880F50}" destId="{6C6BB763-0BC1-4949-A01F-7564922885FC}" srcOrd="2" destOrd="0" presId="urn:microsoft.com/office/officeart/2005/8/layout/radial5"/>
    <dgm:cxn modelId="{F38195F2-A15E-45F2-971F-EF5AC5A6EDCD}" type="presParOf" srcId="{778DCD8C-79C1-4F96-8735-F37BD0880F50}" destId="{49A76C73-76F6-4A46-959C-56C016E590A9}" srcOrd="3" destOrd="0" presId="urn:microsoft.com/office/officeart/2005/8/layout/radial5"/>
    <dgm:cxn modelId="{89E3E428-D437-4A6D-A196-5F4711A6D0A1}" type="presParOf" srcId="{49A76C73-76F6-4A46-959C-56C016E590A9}" destId="{F0A36150-0CAC-430D-9818-CAD7FEC78776}" srcOrd="0" destOrd="0" presId="urn:microsoft.com/office/officeart/2005/8/layout/radial5"/>
    <dgm:cxn modelId="{4FD797CA-C8D1-43A6-BD80-4DB42216B8D8}" type="presParOf" srcId="{778DCD8C-79C1-4F96-8735-F37BD0880F50}" destId="{96E38A9B-989C-4918-A044-59BAEFECB8D3}" srcOrd="4" destOrd="0" presId="urn:microsoft.com/office/officeart/2005/8/layout/radial5"/>
    <dgm:cxn modelId="{85DF1FA3-4904-4B15-A89B-283077A39266}" type="presParOf" srcId="{778DCD8C-79C1-4F96-8735-F37BD0880F50}" destId="{1CEAA46F-A870-4292-893F-D13B84534D11}" srcOrd="5" destOrd="0" presId="urn:microsoft.com/office/officeart/2005/8/layout/radial5"/>
    <dgm:cxn modelId="{207968AE-65E5-4B33-928F-CCC6F8AFF482}" type="presParOf" srcId="{1CEAA46F-A870-4292-893F-D13B84534D11}" destId="{920F1B5A-D62C-42CE-8B37-9933F27FA40F}" srcOrd="0" destOrd="0" presId="urn:microsoft.com/office/officeart/2005/8/layout/radial5"/>
    <dgm:cxn modelId="{6001BE51-F18B-4254-88D8-6D17DA5C6DF8}" type="presParOf" srcId="{778DCD8C-79C1-4F96-8735-F37BD0880F50}" destId="{E503EA63-760A-4169-894C-2FD6CE9303BA}" srcOrd="6" destOrd="0" presId="urn:microsoft.com/office/officeart/2005/8/layout/radial5"/>
    <dgm:cxn modelId="{E5BA112E-2F21-4A52-9A7A-8A91F5D73F64}" type="presParOf" srcId="{778DCD8C-79C1-4F96-8735-F37BD0880F50}" destId="{BC6DA643-3968-4713-84C4-0838C2A09143}" srcOrd="7" destOrd="0" presId="urn:microsoft.com/office/officeart/2005/8/layout/radial5"/>
    <dgm:cxn modelId="{BE90367E-EFB3-4806-A9F3-FEF243E1B71E}" type="presParOf" srcId="{BC6DA643-3968-4713-84C4-0838C2A09143}" destId="{FCF676E5-7B9B-4AC1-B084-77B079C223F5}" srcOrd="0" destOrd="0" presId="urn:microsoft.com/office/officeart/2005/8/layout/radial5"/>
    <dgm:cxn modelId="{DDE95117-F97D-4942-9400-F06737F63298}" type="presParOf" srcId="{778DCD8C-79C1-4F96-8735-F37BD0880F50}" destId="{B99CF4DB-CC93-4A33-8255-470088900820}" srcOrd="8" destOrd="0" presId="urn:microsoft.com/office/officeart/2005/8/layout/radial5"/>
    <dgm:cxn modelId="{5EB55047-49E9-4B38-BDAF-818B2E57D29E}" type="presParOf" srcId="{778DCD8C-79C1-4F96-8735-F37BD0880F50}" destId="{2B81745D-D665-4DCD-B015-22BC6122468F}" srcOrd="9" destOrd="0" presId="urn:microsoft.com/office/officeart/2005/8/layout/radial5"/>
    <dgm:cxn modelId="{0184B9EA-643E-44B2-B1EE-C3D758002AF8}" type="presParOf" srcId="{2B81745D-D665-4DCD-B015-22BC6122468F}" destId="{C5CBE90D-067E-4BDA-ADF4-F745416854F7}" srcOrd="0" destOrd="0" presId="urn:microsoft.com/office/officeart/2005/8/layout/radial5"/>
    <dgm:cxn modelId="{75F21C8B-A4F0-4421-9699-7CD71EC7DFAB}" type="presParOf" srcId="{778DCD8C-79C1-4F96-8735-F37BD0880F50}" destId="{28617CF1-E33A-4DEE-A50B-08A1F5033687}" srcOrd="10" destOrd="0" presId="urn:microsoft.com/office/officeart/2005/8/layout/radial5"/>
    <dgm:cxn modelId="{2A13270B-8EDB-4810-A93C-F61879F6B5E8}" type="presParOf" srcId="{778DCD8C-79C1-4F96-8735-F37BD0880F50}" destId="{D0438F43-7C0A-4653-B55B-5B0B0F15B82E}" srcOrd="11" destOrd="0" presId="urn:microsoft.com/office/officeart/2005/8/layout/radial5"/>
    <dgm:cxn modelId="{EE71EF3D-6058-44E7-83B5-372A11FB77F0}" type="presParOf" srcId="{D0438F43-7C0A-4653-B55B-5B0B0F15B82E}" destId="{32A86ABA-4369-4E94-BA9B-FB4AACA5DFEF}" srcOrd="0" destOrd="0" presId="urn:microsoft.com/office/officeart/2005/8/layout/radial5"/>
    <dgm:cxn modelId="{8FCFB368-18F7-4DD3-A198-E16FBB90A93B}" type="presParOf" srcId="{778DCD8C-79C1-4F96-8735-F37BD0880F50}" destId="{F68D4542-9BF2-4BD8-B331-38F9987E954C}" srcOrd="12" destOrd="0" presId="urn:microsoft.com/office/officeart/2005/8/layout/radial5"/>
    <dgm:cxn modelId="{64F174F2-DE62-43BD-BA53-77E4A12DC8CB}" type="presParOf" srcId="{778DCD8C-79C1-4F96-8735-F37BD0880F50}" destId="{0386507A-25E5-4D31-9EB9-6F4D9A06D798}" srcOrd="13" destOrd="0" presId="urn:microsoft.com/office/officeart/2005/8/layout/radial5"/>
    <dgm:cxn modelId="{FD7750B5-406F-455B-8ADE-C40FB8F9AB77}" type="presParOf" srcId="{0386507A-25E5-4D31-9EB9-6F4D9A06D798}" destId="{1D9AE518-3838-4010-AE2F-359C57D613B3}" srcOrd="0" destOrd="0" presId="urn:microsoft.com/office/officeart/2005/8/layout/radial5"/>
    <dgm:cxn modelId="{6967BD8F-DBDF-4142-A33B-FD215D3C1F38}" type="presParOf" srcId="{778DCD8C-79C1-4F96-8735-F37BD0880F50}" destId="{55C6F64B-AC11-47CE-850F-C379AA0222CC}" srcOrd="14" destOrd="0" presId="urn:microsoft.com/office/officeart/2005/8/layout/radial5"/>
    <dgm:cxn modelId="{324E767D-81C0-482F-9EC2-AF66EBCB5AFB}" type="presParOf" srcId="{778DCD8C-79C1-4F96-8735-F37BD0880F50}" destId="{FC5299C3-0E96-4A07-AD92-0103ECB7ED49}" srcOrd="15" destOrd="0" presId="urn:microsoft.com/office/officeart/2005/8/layout/radial5"/>
    <dgm:cxn modelId="{320EB718-A7E7-4EFA-BD15-A7114C74BE17}" type="presParOf" srcId="{FC5299C3-0E96-4A07-AD92-0103ECB7ED49}" destId="{94364C3A-531E-4B2F-B04C-7168B4ABD27E}" srcOrd="0" destOrd="0" presId="urn:microsoft.com/office/officeart/2005/8/layout/radial5"/>
    <dgm:cxn modelId="{B7F78D83-A5A5-4493-BFDC-4E5B93C1045B}" type="presParOf" srcId="{778DCD8C-79C1-4F96-8735-F37BD0880F50}" destId="{AB681D3F-7C34-4FEE-AE70-EFBE574565E8}" srcOrd="16"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8F984C-D8DE-4013-983F-475FFC712030}">
      <dsp:nvSpPr>
        <dsp:cNvPr id="0" name=""/>
        <dsp:cNvSpPr/>
      </dsp:nvSpPr>
      <dsp:spPr>
        <a:xfrm rot="16200000">
          <a:off x="677333" y="-677333"/>
          <a:ext cx="2709333" cy="4064000"/>
        </a:xfrm>
        <a:prstGeom prst="round1Rect">
          <a:avLst/>
        </a:prstGeom>
        <a:solidFill>
          <a:srgbClr val="C00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lvl="0" algn="ctr" defTabSz="1600200">
            <a:lnSpc>
              <a:spcPct val="90000"/>
            </a:lnSpc>
            <a:spcBef>
              <a:spcPct val="0"/>
            </a:spcBef>
            <a:spcAft>
              <a:spcPct val="35000"/>
            </a:spcAft>
          </a:pPr>
          <a:r>
            <a:rPr lang="en-US" sz="3600" b="0" i="0" kern="1200" dirty="0" smtClean="0"/>
            <a:t>Frequent regression testing</a:t>
          </a:r>
          <a:endParaRPr lang="en-US" sz="3600" kern="1200" dirty="0"/>
        </a:p>
      </dsp:txBody>
      <dsp:txXfrm rot="5400000">
        <a:off x="-1" y="1"/>
        <a:ext cx="4064000" cy="2032000"/>
      </dsp:txXfrm>
    </dsp:sp>
    <dsp:sp modelId="{0A37FEDA-6266-4E60-BF79-FC689FEF1EF4}">
      <dsp:nvSpPr>
        <dsp:cNvPr id="0" name=""/>
        <dsp:cNvSpPr/>
      </dsp:nvSpPr>
      <dsp:spPr>
        <a:xfrm>
          <a:off x="4064000" y="0"/>
          <a:ext cx="4064000" cy="2709333"/>
        </a:xfrm>
        <a:prstGeom prst="round1Rect">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lvl="0" algn="ctr" defTabSz="1600200">
            <a:lnSpc>
              <a:spcPct val="90000"/>
            </a:lnSpc>
            <a:spcBef>
              <a:spcPct val="0"/>
            </a:spcBef>
            <a:spcAft>
              <a:spcPct val="35000"/>
            </a:spcAft>
          </a:pPr>
          <a:r>
            <a:rPr lang="en-US" sz="3600" b="0" i="0" kern="1200" dirty="0" smtClean="0"/>
            <a:t>Rapid feedback to developers</a:t>
          </a:r>
          <a:endParaRPr lang="en-US" sz="3600" kern="1200" dirty="0"/>
        </a:p>
      </dsp:txBody>
      <dsp:txXfrm>
        <a:off x="4064000" y="0"/>
        <a:ext cx="4064000" cy="2032000"/>
      </dsp:txXfrm>
    </dsp:sp>
    <dsp:sp modelId="{791099EC-C976-4D4E-AD11-1679A81D128D}">
      <dsp:nvSpPr>
        <dsp:cNvPr id="0" name=""/>
        <dsp:cNvSpPr/>
      </dsp:nvSpPr>
      <dsp:spPr>
        <a:xfrm rot="10800000">
          <a:off x="0" y="2709333"/>
          <a:ext cx="4064000" cy="2709333"/>
        </a:xfrm>
        <a:prstGeom prst="round1Rect">
          <a:avLst/>
        </a:prstGeom>
        <a:solidFill>
          <a:srgbClr val="00B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lvl="0" algn="ctr" defTabSz="1600200">
            <a:lnSpc>
              <a:spcPct val="90000"/>
            </a:lnSpc>
            <a:spcBef>
              <a:spcPct val="0"/>
            </a:spcBef>
            <a:spcAft>
              <a:spcPct val="35000"/>
            </a:spcAft>
          </a:pPr>
          <a:r>
            <a:rPr lang="en-US" sz="3600" b="0" i="0" kern="1200" dirty="0" smtClean="0"/>
            <a:t>Virtually unlimited iterations of test case execution</a:t>
          </a:r>
          <a:endParaRPr lang="en-US" sz="3600" kern="1200" dirty="0"/>
        </a:p>
      </dsp:txBody>
      <dsp:txXfrm rot="10800000">
        <a:off x="0" y="3386666"/>
        <a:ext cx="4064000" cy="2032000"/>
      </dsp:txXfrm>
    </dsp:sp>
    <dsp:sp modelId="{9AC5FAB6-BBC5-4727-AADA-5695596274E9}">
      <dsp:nvSpPr>
        <dsp:cNvPr id="0" name=""/>
        <dsp:cNvSpPr/>
      </dsp:nvSpPr>
      <dsp:spPr>
        <a:xfrm rot="5400000">
          <a:off x="4741333" y="2032000"/>
          <a:ext cx="2709333" cy="4064000"/>
        </a:xfrm>
        <a:prstGeom prst="round1Rect">
          <a:avLst/>
        </a:prstGeom>
        <a:solidFill>
          <a:srgbClr val="0020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lvl="0" algn="ctr" defTabSz="1600200">
            <a:lnSpc>
              <a:spcPct val="90000"/>
            </a:lnSpc>
            <a:spcBef>
              <a:spcPct val="0"/>
            </a:spcBef>
            <a:spcAft>
              <a:spcPct val="35000"/>
            </a:spcAft>
          </a:pPr>
          <a:r>
            <a:rPr lang="en-US" sz="3600" b="0" i="0" kern="1200" dirty="0" smtClean="0"/>
            <a:t>Finding defects missed by manual testing</a:t>
          </a:r>
          <a:endParaRPr lang="en-US" sz="3600" kern="1200" dirty="0"/>
        </a:p>
      </dsp:txBody>
      <dsp:txXfrm rot="-5400000">
        <a:off x="4063999" y="3386666"/>
        <a:ext cx="4064000" cy="2032000"/>
      </dsp:txXfrm>
    </dsp:sp>
    <dsp:sp modelId="{D48EF8BF-5324-4D64-817E-F91EC1DCBAEF}">
      <dsp:nvSpPr>
        <dsp:cNvPr id="0" name=""/>
        <dsp:cNvSpPr/>
      </dsp:nvSpPr>
      <dsp:spPr>
        <a:xfrm>
          <a:off x="2844799" y="1735063"/>
          <a:ext cx="2438400" cy="1948539"/>
        </a:xfrm>
        <a:prstGeom prst="roundRect">
          <a:avLst/>
        </a:prstGeom>
        <a:solidFill>
          <a:srgbClr val="2E75B6"/>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kern="1200" dirty="0" smtClean="0"/>
            <a:t> </a:t>
          </a:r>
          <a:endParaRPr lang="en-US" sz="3600" kern="1200" dirty="0"/>
        </a:p>
      </dsp:txBody>
      <dsp:txXfrm>
        <a:off x="2939919" y="1830183"/>
        <a:ext cx="2248160" cy="17582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95DBC6-28BE-43A4-BF5A-62ACB51729EE}">
      <dsp:nvSpPr>
        <dsp:cNvPr id="0" name=""/>
        <dsp:cNvSpPr/>
      </dsp:nvSpPr>
      <dsp:spPr>
        <a:xfrm>
          <a:off x="126999" y="1889125"/>
          <a:ext cx="3280833" cy="1640416"/>
        </a:xfrm>
        <a:prstGeom prst="roundRect">
          <a:avLst>
            <a:gd name="adj" fmla="val 10000"/>
          </a:avLst>
        </a:prstGeom>
        <a:solidFill>
          <a:schemeClr val="tx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1778000">
            <a:lnSpc>
              <a:spcPct val="90000"/>
            </a:lnSpc>
            <a:spcBef>
              <a:spcPct val="0"/>
            </a:spcBef>
            <a:spcAft>
              <a:spcPct val="35000"/>
            </a:spcAft>
          </a:pPr>
          <a:r>
            <a:rPr lang="en-US" sz="4000" b="1" kern="1200" dirty="0" smtClean="0">
              <a:solidFill>
                <a:schemeClr val="accent4"/>
              </a:solidFill>
            </a:rPr>
            <a:t>Selenium Suite</a:t>
          </a:r>
          <a:endParaRPr lang="en-US" sz="4000" b="1" kern="1200" dirty="0">
            <a:solidFill>
              <a:schemeClr val="accent4"/>
            </a:solidFill>
          </a:endParaRPr>
        </a:p>
      </dsp:txBody>
      <dsp:txXfrm>
        <a:off x="175045" y="1937171"/>
        <a:ext cx="3184741" cy="1544324"/>
      </dsp:txXfrm>
    </dsp:sp>
    <dsp:sp modelId="{82B365B3-F0B6-46A4-BE8C-0FF0D41CA157}">
      <dsp:nvSpPr>
        <dsp:cNvPr id="0" name=""/>
        <dsp:cNvSpPr/>
      </dsp:nvSpPr>
      <dsp:spPr>
        <a:xfrm rot="17516375">
          <a:off x="2770886" y="1738847"/>
          <a:ext cx="2033768" cy="54492"/>
        </a:xfrm>
        <a:custGeom>
          <a:avLst/>
          <a:gdLst/>
          <a:ahLst/>
          <a:cxnLst/>
          <a:rect l="0" t="0" r="0" b="0"/>
          <a:pathLst>
            <a:path>
              <a:moveTo>
                <a:pt x="0" y="27246"/>
              </a:moveTo>
              <a:lnTo>
                <a:pt x="2033768" y="27246"/>
              </a:lnTo>
            </a:path>
          </a:pathLst>
        </a:custGeom>
        <a:noFill/>
        <a:ln w="50800" cap="rnd"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a:off x="3736926" y="1715249"/>
        <a:ext cx="101688" cy="101688"/>
      </dsp:txXfrm>
    </dsp:sp>
    <dsp:sp modelId="{6548856A-4102-410D-961C-DDD5763EB351}">
      <dsp:nvSpPr>
        <dsp:cNvPr id="0" name=""/>
        <dsp:cNvSpPr/>
      </dsp:nvSpPr>
      <dsp:spPr>
        <a:xfrm>
          <a:off x="4167707" y="2645"/>
          <a:ext cx="3280833" cy="1640416"/>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1778000">
            <a:lnSpc>
              <a:spcPct val="90000"/>
            </a:lnSpc>
            <a:spcBef>
              <a:spcPct val="0"/>
            </a:spcBef>
            <a:spcAft>
              <a:spcPct val="35000"/>
            </a:spcAft>
          </a:pPr>
          <a:r>
            <a:rPr lang="en-US" sz="4000" kern="1200" dirty="0" smtClean="0">
              <a:solidFill>
                <a:schemeClr val="tx1"/>
              </a:solidFill>
              <a:latin typeface="Andalus" panose="02020603050405020304" pitchFamily="18" charset="-78"/>
              <a:cs typeface="Andalus" panose="02020603050405020304" pitchFamily="18" charset="-78"/>
            </a:rPr>
            <a:t>Selenium IDE</a:t>
          </a:r>
          <a:endParaRPr lang="en-US" sz="4000" kern="1200" dirty="0">
            <a:solidFill>
              <a:schemeClr val="tx1"/>
            </a:solidFill>
            <a:latin typeface="Andalus" panose="02020603050405020304" pitchFamily="18" charset="-78"/>
            <a:cs typeface="Andalus" panose="02020603050405020304" pitchFamily="18" charset="-78"/>
          </a:endParaRPr>
        </a:p>
      </dsp:txBody>
      <dsp:txXfrm>
        <a:off x="4215753" y="50691"/>
        <a:ext cx="3184741" cy="1544324"/>
      </dsp:txXfrm>
    </dsp:sp>
    <dsp:sp modelId="{749A4602-F0CB-4EC3-8D07-1162E53F4D96}">
      <dsp:nvSpPr>
        <dsp:cNvPr id="0" name=""/>
        <dsp:cNvSpPr/>
      </dsp:nvSpPr>
      <dsp:spPr>
        <a:xfrm>
          <a:off x="3407833" y="2682087"/>
          <a:ext cx="759873" cy="54492"/>
        </a:xfrm>
        <a:custGeom>
          <a:avLst/>
          <a:gdLst/>
          <a:ahLst/>
          <a:cxnLst/>
          <a:rect l="0" t="0" r="0" b="0"/>
          <a:pathLst>
            <a:path>
              <a:moveTo>
                <a:pt x="0" y="27246"/>
              </a:moveTo>
              <a:lnTo>
                <a:pt x="759873" y="27246"/>
              </a:lnTo>
            </a:path>
          </a:pathLst>
        </a:custGeom>
        <a:noFill/>
        <a:ln w="50800" cap="rnd"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768773" y="2690336"/>
        <a:ext cx="37993" cy="37993"/>
      </dsp:txXfrm>
    </dsp:sp>
    <dsp:sp modelId="{E5FD5451-7234-44C6-9B4F-22A8CC86502E}">
      <dsp:nvSpPr>
        <dsp:cNvPr id="0" name=""/>
        <dsp:cNvSpPr/>
      </dsp:nvSpPr>
      <dsp:spPr>
        <a:xfrm>
          <a:off x="4167707" y="1889125"/>
          <a:ext cx="3280833" cy="1640416"/>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tx1"/>
              </a:solidFill>
              <a:latin typeface="Andalus" panose="02020603050405020304" pitchFamily="18" charset="-78"/>
              <a:cs typeface="Andalus" panose="02020603050405020304" pitchFamily="18" charset="-78"/>
            </a:rPr>
            <a:t>Selenium 2 (Webdriver &amp; RC)</a:t>
          </a:r>
          <a:endParaRPr lang="en-US" sz="3200" kern="1200" dirty="0">
            <a:solidFill>
              <a:schemeClr val="tx1"/>
            </a:solidFill>
            <a:latin typeface="Andalus" panose="02020603050405020304" pitchFamily="18" charset="-78"/>
            <a:cs typeface="Andalus" panose="02020603050405020304" pitchFamily="18" charset="-78"/>
          </a:endParaRPr>
        </a:p>
      </dsp:txBody>
      <dsp:txXfrm>
        <a:off x="4215753" y="1937171"/>
        <a:ext cx="3184741" cy="1544324"/>
      </dsp:txXfrm>
    </dsp:sp>
    <dsp:sp modelId="{18A8C619-A0A2-4238-A811-1083AF1F8427}">
      <dsp:nvSpPr>
        <dsp:cNvPr id="0" name=""/>
        <dsp:cNvSpPr/>
      </dsp:nvSpPr>
      <dsp:spPr>
        <a:xfrm rot="4083625">
          <a:off x="2770886" y="3625327"/>
          <a:ext cx="2033768" cy="54492"/>
        </a:xfrm>
        <a:custGeom>
          <a:avLst/>
          <a:gdLst/>
          <a:ahLst/>
          <a:cxnLst/>
          <a:rect l="0" t="0" r="0" b="0"/>
          <a:pathLst>
            <a:path>
              <a:moveTo>
                <a:pt x="0" y="27246"/>
              </a:moveTo>
              <a:lnTo>
                <a:pt x="2033768" y="27246"/>
              </a:lnTo>
            </a:path>
          </a:pathLst>
        </a:custGeom>
        <a:noFill/>
        <a:ln w="50800" cap="rnd"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a:off x="3736926" y="3601728"/>
        <a:ext cx="101688" cy="101688"/>
      </dsp:txXfrm>
    </dsp:sp>
    <dsp:sp modelId="{B11EF92B-62A9-45F1-B52B-C2D92FF048A1}">
      <dsp:nvSpPr>
        <dsp:cNvPr id="0" name=""/>
        <dsp:cNvSpPr/>
      </dsp:nvSpPr>
      <dsp:spPr>
        <a:xfrm>
          <a:off x="4167707" y="3775604"/>
          <a:ext cx="3280833" cy="1640416"/>
        </a:xfrm>
        <a:prstGeom prst="roundRect">
          <a:avLst>
            <a:gd name="adj" fmla="val 10000"/>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1778000">
            <a:lnSpc>
              <a:spcPct val="90000"/>
            </a:lnSpc>
            <a:spcBef>
              <a:spcPct val="0"/>
            </a:spcBef>
            <a:spcAft>
              <a:spcPct val="35000"/>
            </a:spcAft>
          </a:pPr>
          <a:r>
            <a:rPr lang="en-US" sz="4000" kern="1200" dirty="0" smtClean="0">
              <a:solidFill>
                <a:schemeClr val="tx1"/>
              </a:solidFill>
              <a:latin typeface="Andalus" panose="02020603050405020304" pitchFamily="18" charset="-78"/>
              <a:cs typeface="Andalus" panose="02020603050405020304" pitchFamily="18" charset="-78"/>
            </a:rPr>
            <a:t>Selenium Grid</a:t>
          </a:r>
          <a:endParaRPr lang="en-US" sz="4000" kern="1200" dirty="0">
            <a:solidFill>
              <a:schemeClr val="tx1"/>
            </a:solidFill>
            <a:latin typeface="Andalus" panose="02020603050405020304" pitchFamily="18" charset="-78"/>
            <a:cs typeface="Andalus" panose="02020603050405020304" pitchFamily="18" charset="-78"/>
          </a:endParaRPr>
        </a:p>
      </dsp:txBody>
      <dsp:txXfrm>
        <a:off x="4215753" y="3823650"/>
        <a:ext cx="3184741" cy="15443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04A80-DB2B-47B6-9961-9DD841F90E43}">
      <dsp:nvSpPr>
        <dsp:cNvPr id="0" name=""/>
        <dsp:cNvSpPr/>
      </dsp:nvSpPr>
      <dsp:spPr>
        <a:xfrm>
          <a:off x="4084886" y="2570411"/>
          <a:ext cx="1717177" cy="1717177"/>
        </a:xfrm>
        <a:prstGeom prst="ellipse">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r>
            <a:rPr lang="en-US" sz="6500" b="1" kern="1200" dirty="0" smtClean="0"/>
            <a:t> </a:t>
          </a:r>
          <a:endParaRPr lang="en-US" sz="6500" b="1" kern="1200" dirty="0"/>
        </a:p>
      </dsp:txBody>
      <dsp:txXfrm>
        <a:off x="4336361" y="2821886"/>
        <a:ext cx="1214227" cy="1214227"/>
      </dsp:txXfrm>
    </dsp:sp>
    <dsp:sp modelId="{A2DD97F2-93B1-46C0-A0B9-B00DE1A63D59}">
      <dsp:nvSpPr>
        <dsp:cNvPr id="0" name=""/>
        <dsp:cNvSpPr/>
      </dsp:nvSpPr>
      <dsp:spPr>
        <a:xfrm rot="16200000">
          <a:off x="4678968" y="1794394"/>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a:off x="4758320" y="1990514"/>
        <a:ext cx="370308" cy="350304"/>
      </dsp:txXfrm>
    </dsp:sp>
    <dsp:sp modelId="{6C6BB763-0BC1-4949-A01F-7564922885FC}">
      <dsp:nvSpPr>
        <dsp:cNvPr id="0" name=""/>
        <dsp:cNvSpPr/>
      </dsp:nvSpPr>
      <dsp:spPr>
        <a:xfrm>
          <a:off x="4170744" y="26814"/>
          <a:ext cx="1545460" cy="1545460"/>
        </a:xfrm>
        <a:prstGeom prst="ellipse">
          <a:avLst/>
        </a:prstGeom>
        <a:solidFill>
          <a:schemeClr val="accent6">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Firefox</a:t>
          </a:r>
          <a:endParaRPr lang="en-US" sz="1800" b="1" kern="1200" dirty="0"/>
        </a:p>
      </dsp:txBody>
      <dsp:txXfrm>
        <a:off x="4397071" y="253141"/>
        <a:ext cx="1092806" cy="1092806"/>
      </dsp:txXfrm>
    </dsp:sp>
    <dsp:sp modelId="{49A76C73-76F6-4A46-959C-56C016E590A9}">
      <dsp:nvSpPr>
        <dsp:cNvPr id="0" name=""/>
        <dsp:cNvSpPr/>
      </dsp:nvSpPr>
      <dsp:spPr>
        <a:xfrm rot="18900000">
          <a:off x="5628390" y="2187658"/>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a:off x="5651632" y="2360536"/>
        <a:ext cx="370308" cy="350304"/>
      </dsp:txXfrm>
    </dsp:sp>
    <dsp:sp modelId="{96E38A9B-989C-4918-A044-59BAEFECB8D3}">
      <dsp:nvSpPr>
        <dsp:cNvPr id="0" name=""/>
        <dsp:cNvSpPr/>
      </dsp:nvSpPr>
      <dsp:spPr>
        <a:xfrm>
          <a:off x="6030050" y="796964"/>
          <a:ext cx="1545460" cy="1545460"/>
        </a:xfrm>
        <a:prstGeom prst="ellipse">
          <a:avLst/>
        </a:prstGeom>
        <a:solidFill>
          <a:schemeClr val="accent5">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Windows</a:t>
          </a:r>
          <a:endParaRPr lang="en-US" sz="1800" b="1" kern="1200" dirty="0"/>
        </a:p>
      </dsp:txBody>
      <dsp:txXfrm>
        <a:off x="6256377" y="1023291"/>
        <a:ext cx="1092806" cy="1092806"/>
      </dsp:txXfrm>
    </dsp:sp>
    <dsp:sp modelId="{1CEAA46F-A870-4292-893F-D13B84534D11}">
      <dsp:nvSpPr>
        <dsp:cNvPr id="0" name=""/>
        <dsp:cNvSpPr/>
      </dsp:nvSpPr>
      <dsp:spPr>
        <a:xfrm>
          <a:off x="6021653" y="3137079"/>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a:off x="6021653" y="3253847"/>
        <a:ext cx="370308" cy="350304"/>
      </dsp:txXfrm>
    </dsp:sp>
    <dsp:sp modelId="{E503EA63-760A-4169-894C-2FD6CE9303BA}">
      <dsp:nvSpPr>
        <dsp:cNvPr id="0" name=""/>
        <dsp:cNvSpPr/>
      </dsp:nvSpPr>
      <dsp:spPr>
        <a:xfrm>
          <a:off x="6800199" y="2656269"/>
          <a:ext cx="1545460" cy="1545460"/>
        </a:xfrm>
        <a:prstGeom prst="ellipse">
          <a:avLst/>
        </a:prstGeom>
        <a:solidFill>
          <a:schemeClr val="accent4">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BlackBerry</a:t>
          </a:r>
          <a:endParaRPr lang="en-US" sz="1800" b="1" kern="1200" dirty="0"/>
        </a:p>
      </dsp:txBody>
      <dsp:txXfrm>
        <a:off x="7026526" y="2882596"/>
        <a:ext cx="1092806" cy="1092806"/>
      </dsp:txXfrm>
    </dsp:sp>
    <dsp:sp modelId="{BC6DA643-3968-4713-84C4-0838C2A09143}">
      <dsp:nvSpPr>
        <dsp:cNvPr id="0" name=""/>
        <dsp:cNvSpPr/>
      </dsp:nvSpPr>
      <dsp:spPr>
        <a:xfrm rot="2700000">
          <a:off x="5628390" y="4086501"/>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a:off x="5651632" y="4147159"/>
        <a:ext cx="370308" cy="350304"/>
      </dsp:txXfrm>
    </dsp:sp>
    <dsp:sp modelId="{B99CF4DB-CC93-4A33-8255-470088900820}">
      <dsp:nvSpPr>
        <dsp:cNvPr id="0" name=""/>
        <dsp:cNvSpPr/>
      </dsp:nvSpPr>
      <dsp:spPr>
        <a:xfrm>
          <a:off x="6030050" y="4515575"/>
          <a:ext cx="1545460" cy="1545460"/>
        </a:xfrm>
        <a:prstGeom prst="ellipse">
          <a:avLst/>
        </a:prstGeom>
        <a:solidFill>
          <a:schemeClr val="accent3">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Android</a:t>
          </a:r>
          <a:endParaRPr lang="en-US" sz="1800" b="1" kern="1200" dirty="0"/>
        </a:p>
      </dsp:txBody>
      <dsp:txXfrm>
        <a:off x="6256377" y="4741902"/>
        <a:ext cx="1092806" cy="1092806"/>
      </dsp:txXfrm>
    </dsp:sp>
    <dsp:sp modelId="{2B81745D-D665-4DCD-B015-22BC6122468F}">
      <dsp:nvSpPr>
        <dsp:cNvPr id="0" name=""/>
        <dsp:cNvSpPr/>
      </dsp:nvSpPr>
      <dsp:spPr>
        <a:xfrm rot="5400000">
          <a:off x="4678968" y="4479764"/>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a:off x="4758320" y="4517180"/>
        <a:ext cx="370308" cy="350304"/>
      </dsp:txXfrm>
    </dsp:sp>
    <dsp:sp modelId="{28617CF1-E33A-4DEE-A50B-08A1F5033687}">
      <dsp:nvSpPr>
        <dsp:cNvPr id="0" name=""/>
        <dsp:cNvSpPr/>
      </dsp:nvSpPr>
      <dsp:spPr>
        <a:xfrm>
          <a:off x="4170744" y="5285724"/>
          <a:ext cx="1545460" cy="1545460"/>
        </a:xfrm>
        <a:prstGeom prst="ellipse">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IE</a:t>
          </a:r>
          <a:endParaRPr lang="en-US" sz="1800" b="1" kern="1200" dirty="0"/>
        </a:p>
      </dsp:txBody>
      <dsp:txXfrm>
        <a:off x="4397071" y="5512051"/>
        <a:ext cx="1092806" cy="1092806"/>
      </dsp:txXfrm>
    </dsp:sp>
    <dsp:sp modelId="{D0438F43-7C0A-4653-B55B-5B0B0F15B82E}">
      <dsp:nvSpPr>
        <dsp:cNvPr id="0" name=""/>
        <dsp:cNvSpPr/>
      </dsp:nvSpPr>
      <dsp:spPr>
        <a:xfrm rot="8100000">
          <a:off x="3729547" y="4086501"/>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rot="10800000">
        <a:off x="3865009" y="4147159"/>
        <a:ext cx="370308" cy="350304"/>
      </dsp:txXfrm>
    </dsp:sp>
    <dsp:sp modelId="{F68D4542-9BF2-4BD8-B331-38F9987E954C}">
      <dsp:nvSpPr>
        <dsp:cNvPr id="0" name=""/>
        <dsp:cNvSpPr/>
      </dsp:nvSpPr>
      <dsp:spPr>
        <a:xfrm>
          <a:off x="2311439" y="4515575"/>
          <a:ext cx="1545460" cy="1545460"/>
        </a:xfrm>
        <a:prstGeom prst="ellipse">
          <a:avLst/>
        </a:prstGeom>
        <a:solidFill>
          <a:schemeClr val="tx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Chrome</a:t>
          </a:r>
          <a:endParaRPr lang="en-US" sz="1800" b="1" kern="1200" dirty="0"/>
        </a:p>
      </dsp:txBody>
      <dsp:txXfrm>
        <a:off x="2537766" y="4741902"/>
        <a:ext cx="1092806" cy="1092806"/>
      </dsp:txXfrm>
    </dsp:sp>
    <dsp:sp modelId="{0386507A-25E5-4D31-9EB9-6F4D9A06D798}">
      <dsp:nvSpPr>
        <dsp:cNvPr id="0" name=""/>
        <dsp:cNvSpPr/>
      </dsp:nvSpPr>
      <dsp:spPr>
        <a:xfrm rot="10800000">
          <a:off x="3336284" y="3137079"/>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rot="10800000">
        <a:off x="3494988" y="3253847"/>
        <a:ext cx="370308" cy="350304"/>
      </dsp:txXfrm>
    </dsp:sp>
    <dsp:sp modelId="{55C6F64B-AC11-47CE-850F-C379AA0222CC}">
      <dsp:nvSpPr>
        <dsp:cNvPr id="0" name=""/>
        <dsp:cNvSpPr/>
      </dsp:nvSpPr>
      <dsp:spPr>
        <a:xfrm>
          <a:off x="1541289" y="2656269"/>
          <a:ext cx="1545460" cy="1545460"/>
        </a:xfrm>
        <a:prstGeom prst="ellipse">
          <a:avLst/>
        </a:prstGeom>
        <a:solidFill>
          <a:srgbClr val="C00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Opera</a:t>
          </a:r>
          <a:endParaRPr lang="en-US" sz="1800" b="1" kern="1200" dirty="0"/>
        </a:p>
      </dsp:txBody>
      <dsp:txXfrm>
        <a:off x="1767616" y="2882596"/>
        <a:ext cx="1092806" cy="1092806"/>
      </dsp:txXfrm>
    </dsp:sp>
    <dsp:sp modelId="{FC5299C3-0E96-4A07-AD92-0103ECB7ED49}">
      <dsp:nvSpPr>
        <dsp:cNvPr id="0" name=""/>
        <dsp:cNvSpPr/>
      </dsp:nvSpPr>
      <dsp:spPr>
        <a:xfrm rot="13500000">
          <a:off x="3729547" y="2187658"/>
          <a:ext cx="529012" cy="583840"/>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b="1" kern="1200"/>
        </a:p>
      </dsp:txBody>
      <dsp:txXfrm rot="10800000">
        <a:off x="3865009" y="2360536"/>
        <a:ext cx="370308" cy="350304"/>
      </dsp:txXfrm>
    </dsp:sp>
    <dsp:sp modelId="{AB681D3F-7C34-4FEE-AE70-EFBE574565E8}">
      <dsp:nvSpPr>
        <dsp:cNvPr id="0" name=""/>
        <dsp:cNvSpPr/>
      </dsp:nvSpPr>
      <dsp:spPr>
        <a:xfrm>
          <a:off x="2311439" y="796964"/>
          <a:ext cx="1545460" cy="1545460"/>
        </a:xfrm>
        <a:prstGeom prst="ellipse">
          <a:avLst/>
        </a:prstGeom>
        <a:solidFill>
          <a:srgbClr val="7030A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iOS</a:t>
          </a:r>
          <a:endParaRPr lang="en-US" sz="1800" b="1" kern="1200" dirty="0"/>
        </a:p>
      </dsp:txBody>
      <dsp:txXfrm>
        <a:off x="2537766" y="1023291"/>
        <a:ext cx="1092806" cy="1092806"/>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7D8D985-DE5C-4C87-9318-86DBD447FDA1}" type="datetimeFigureOut">
              <a:rPr lang="en-US" smtClean="0"/>
              <a:t>3/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345202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7D8D985-DE5C-4C87-9318-86DBD447FDA1}" type="datetimeFigureOut">
              <a:rPr lang="en-US" smtClean="0"/>
              <a:t>3/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19780380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7D8D985-DE5C-4C87-9318-86DBD447FDA1}" type="datetimeFigureOut">
              <a:rPr lang="en-US" smtClean="0"/>
              <a:t>3/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35006622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7_Title Slide_Deep Violet">
    <p:bg>
      <p:bgPr>
        <a:solidFill>
          <a:srgbClr val="002266"/>
        </a:solidFill>
        <a:effectLst/>
      </p:bgPr>
    </p:bg>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47" name="think-cell Slide" r:id="rId4" imgW="0" imgH="0" progId="">
                  <p:embed/>
                </p:oleObj>
              </mc:Choice>
              <mc:Fallback>
                <p:oleObj name="think-cell Slide" r:id="rId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pic>
        <p:nvPicPr>
          <p:cNvPr id="12"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624417" y="309930"/>
            <a:ext cx="6057600" cy="72912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3" name="Group 12"/>
          <p:cNvGrpSpPr/>
          <p:nvPr userDrawn="1"/>
        </p:nvGrpSpPr>
        <p:grpSpPr>
          <a:xfrm>
            <a:off x="7581928" y="2385976"/>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316584" y="6265653"/>
            <a:ext cx="6258560" cy="228600"/>
          </a:xfrm>
          <a:prstGeom prst="rect">
            <a:avLst/>
          </a:prstGeom>
          <a:noFill/>
          <a:ln>
            <a:noFill/>
          </a:ln>
        </p:spPr>
      </p:pic>
      <p:sp>
        <p:nvSpPr>
          <p:cNvPr id="17" name="Text Placeholder 32"/>
          <p:cNvSpPr>
            <a:spLocks noGrp="1"/>
          </p:cNvSpPr>
          <p:nvPr>
            <p:ph type="body" sz="quarter" idx="10" hasCustomPrompt="1"/>
          </p:nvPr>
        </p:nvSpPr>
        <p:spPr>
          <a:xfrm>
            <a:off x="622081" y="458564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rgbClr val="FFFFFF"/>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smtClean="0"/>
              <a:t>Click to edit subtitle</a:t>
            </a:r>
          </a:p>
        </p:txBody>
      </p:sp>
      <p:sp>
        <p:nvSpPr>
          <p:cNvPr id="18" name="Title 1"/>
          <p:cNvSpPr>
            <a:spLocks noGrp="1"/>
          </p:cNvSpPr>
          <p:nvPr>
            <p:ph type="ctrTitle" hasCustomPrompt="1"/>
          </p:nvPr>
        </p:nvSpPr>
        <p:spPr>
          <a:xfrm>
            <a:off x="622081" y="3437057"/>
            <a:ext cx="5774487" cy="996950"/>
          </a:xfrm>
          <a:prstGeom prst="rect">
            <a:avLst/>
          </a:prstGeom>
        </p:spPr>
        <p:txBody>
          <a:bodyPr lIns="0" tIns="0" anchor="b" anchorCtr="0">
            <a:noAutofit/>
          </a:bodyPr>
          <a:lstStyle>
            <a:lvl1pPr algn="l">
              <a:lnSpc>
                <a:spcPct val="100000"/>
              </a:lnSpc>
              <a:spcAft>
                <a:spcPts val="0"/>
              </a:spcAft>
              <a:defRPr sz="3600" b="1" spc="0" baseline="0">
                <a:solidFill>
                  <a:srgbClr val="FFFFFF"/>
                </a:solidFill>
                <a:latin typeface="+mj-lt"/>
                <a:cs typeface="Arial" pitchFamily="34" charset="0"/>
              </a:defRPr>
            </a:lvl1pPr>
          </a:lstStyle>
          <a:p>
            <a:r>
              <a:rPr lang="en-US" dirty="0" smtClean="0"/>
              <a:t>Click to edit presentation title</a:t>
            </a:r>
            <a:endParaRPr lang="en-GB" dirty="0"/>
          </a:p>
        </p:txBody>
      </p:sp>
    </p:spTree>
    <p:extLst>
      <p:ext uri="{BB962C8B-B14F-4D97-AF65-F5344CB8AC3E}">
        <p14:creationId xmlns:p14="http://schemas.microsoft.com/office/powerpoint/2010/main" val="2499712163"/>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7D8D985-DE5C-4C87-9318-86DBD447FDA1}" type="datetimeFigureOut">
              <a:rPr lang="en-US" smtClean="0"/>
              <a:t>3/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137616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7D8D985-DE5C-4C87-9318-86DBD447FDA1}" type="datetimeFigureOut">
              <a:rPr lang="en-US" smtClean="0"/>
              <a:t>3/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1161681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7D8D985-DE5C-4C87-9318-86DBD447FDA1}" type="datetimeFigureOut">
              <a:rPr lang="en-US" smtClean="0"/>
              <a:t>3/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302524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7D8D985-DE5C-4C87-9318-86DBD447FDA1}" type="datetimeFigureOut">
              <a:rPr lang="en-US" smtClean="0"/>
              <a:t>3/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409360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7D8D985-DE5C-4C87-9318-86DBD447FDA1}" type="datetimeFigureOut">
              <a:rPr lang="en-US" smtClean="0"/>
              <a:t>3/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3512202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D8D985-DE5C-4C87-9318-86DBD447FDA1}" type="datetimeFigureOut">
              <a:rPr lang="en-US" smtClean="0"/>
              <a:t>3/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0937739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D8D985-DE5C-4C87-9318-86DBD447FDA1}" type="datetimeFigureOut">
              <a:rPr lang="en-US" smtClean="0"/>
              <a:t>3/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3884615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D8D985-DE5C-4C87-9318-86DBD447FDA1}" type="datetimeFigureOut">
              <a:rPr lang="en-US" smtClean="0"/>
              <a:t>3/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19375120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D8D985-DE5C-4C87-9318-86DBD447FDA1}" type="datetimeFigureOut">
              <a:rPr lang="en-US" smtClean="0"/>
              <a:t>3/7/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01EBD9-E4CE-412F-ACCC-68FD555BC487}" type="slidenum">
              <a:rPr lang="en-US" smtClean="0"/>
              <a:t>‹#›</a:t>
            </a:fld>
            <a:endParaRPr lang="en-US"/>
          </a:p>
        </p:txBody>
      </p:sp>
    </p:spTree>
    <p:extLst>
      <p:ext uri="{BB962C8B-B14F-4D97-AF65-F5344CB8AC3E}">
        <p14:creationId xmlns:p14="http://schemas.microsoft.com/office/powerpoint/2010/main" val="2450003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6.png"/><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6.png"/><Relationship Id="rId2" Type="http://schemas.openxmlformats.org/officeDocument/2006/relationships/image" Target="../media/image17.png"/><Relationship Id="rId1" Type="http://schemas.openxmlformats.org/officeDocument/2006/relationships/slideLayout" Target="../slideLayouts/slideLayout12.xml"/><Relationship Id="rId6" Type="http://schemas.openxmlformats.org/officeDocument/2006/relationships/image" Target="../media/image21.png"/><Relationship Id="rId11" Type="http://schemas.openxmlformats.org/officeDocument/2006/relationships/image" Target="../media/image25.png"/><Relationship Id="rId5" Type="http://schemas.openxmlformats.org/officeDocument/2006/relationships/image" Target="../media/image20.png"/><Relationship Id="rId15" Type="http://schemas.openxmlformats.org/officeDocument/2006/relationships/image" Target="../media/image28.png"/><Relationship Id="rId10" Type="http://schemas.openxmlformats.org/officeDocument/2006/relationships/image" Target="../media/image24.png"/><Relationship Id="rId4" Type="http://schemas.openxmlformats.org/officeDocument/2006/relationships/image" Target="../media/image19.png"/><Relationship Id="rId9" Type="http://schemas.microsoft.com/office/2007/relationships/hdphoto" Target="../media/hdphoto1.wdp"/><Relationship Id="rId14" Type="http://schemas.microsoft.com/office/2007/relationships/hdphoto" Target="../media/hdphoto2.wdp"/></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png"/><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57686" y="4340946"/>
            <a:ext cx="5774484" cy="467562"/>
          </a:xfrm>
        </p:spPr>
        <p:txBody>
          <a:bodyPr/>
          <a:lstStyle/>
          <a:p>
            <a:r>
              <a:rPr lang="en-GB" dirty="0" smtClean="0"/>
              <a:t>DevOps</a:t>
            </a:r>
          </a:p>
        </p:txBody>
      </p:sp>
      <p:sp>
        <p:nvSpPr>
          <p:cNvPr id="6" name="Title 5"/>
          <p:cNvSpPr>
            <a:spLocks noGrp="1"/>
          </p:cNvSpPr>
          <p:nvPr>
            <p:ph type="ctrTitle"/>
          </p:nvPr>
        </p:nvSpPr>
        <p:spPr/>
        <p:txBody>
          <a:bodyPr/>
          <a:lstStyle/>
          <a:p>
            <a:r>
              <a:rPr lang="en-GB" dirty="0" smtClean="0"/>
              <a:t>Selenium</a:t>
            </a:r>
            <a:endParaRPr lang="en-GB" dirty="0"/>
          </a:p>
        </p:txBody>
      </p:sp>
    </p:spTree>
    <p:extLst>
      <p:ext uri="{BB962C8B-B14F-4D97-AF65-F5344CB8AC3E}">
        <p14:creationId xmlns:p14="http://schemas.microsoft.com/office/powerpoint/2010/main" val="355888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FFD966"/>
        </a:solidFill>
        <a:effectLst/>
      </p:bgPr>
    </p:bg>
    <p:spTree>
      <p:nvGrpSpPr>
        <p:cNvPr id="1" name=""/>
        <p:cNvGrpSpPr/>
        <p:nvPr/>
      </p:nvGrpSpPr>
      <p:grpSpPr>
        <a:xfrm>
          <a:off x="0" y="0"/>
          <a:ext cx="0" cy="0"/>
          <a:chOff x="0" y="0"/>
          <a:chExt cx="0" cy="0"/>
        </a:xfrm>
      </p:grpSpPr>
      <p:sp>
        <p:nvSpPr>
          <p:cNvPr id="4" name="Rounded Rectangle 3"/>
          <p:cNvSpPr/>
          <p:nvPr/>
        </p:nvSpPr>
        <p:spPr>
          <a:xfrm>
            <a:off x="1651338" y="311152"/>
            <a:ext cx="9510053" cy="1149155"/>
          </a:xfrm>
          <a:prstGeom prst="roundRect">
            <a:avLst/>
          </a:prstGeom>
          <a:gradFill flip="none" rotWithShape="1">
            <a:gsLst>
              <a:gs pos="0">
                <a:schemeClr val="accent2">
                  <a:lumMod val="50000"/>
                </a:schemeClr>
              </a:gs>
              <a:gs pos="53000">
                <a:srgbClr val="E16815"/>
              </a:gs>
              <a:gs pos="100000">
                <a:schemeClr val="accent2">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1969893" y="444644"/>
            <a:ext cx="8872942" cy="1015663"/>
          </a:xfrm>
          <a:prstGeom prst="rect">
            <a:avLst/>
          </a:prstGeom>
          <a:noFill/>
        </p:spPr>
        <p:txBody>
          <a:bodyPr wrap="none" lIns="91440" tIns="45720" rIns="91440" bIns="45720">
            <a:spAutoFit/>
          </a:bodyPr>
          <a:lstStyle/>
          <a:p>
            <a:pPr algn="ctr"/>
            <a:r>
              <a:rPr lang="en-US" sz="6000" b="1" cap="none" spc="0" dirty="0" smtClean="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rPr>
              <a:t>SELENIUM WEBDRIVER</a:t>
            </a:r>
            <a:endParaRPr lang="en-US" sz="6000" b="1" cap="none" spc="0" dirty="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endParaRPr>
          </a:p>
        </p:txBody>
      </p:sp>
      <p:sp>
        <p:nvSpPr>
          <p:cNvPr id="6" name="TextBox 5"/>
          <p:cNvSpPr txBox="1"/>
          <p:nvPr/>
        </p:nvSpPr>
        <p:spPr>
          <a:xfrm>
            <a:off x="654690" y="1887573"/>
            <a:ext cx="7357776" cy="2281476"/>
          </a:xfrm>
          <a:prstGeom prst="roundRect">
            <a:avLst/>
          </a:prstGeom>
          <a:solidFill>
            <a:srgbClr val="002060"/>
          </a:solidFill>
        </p:spPr>
        <p:txBody>
          <a:bodyPr wrap="square" rtlCol="0">
            <a:spAutoFit/>
          </a:bodyPr>
          <a:lstStyle/>
          <a:p>
            <a:pPr algn="just"/>
            <a:r>
              <a:rPr lang="en-US" sz="3200" dirty="0">
                <a:solidFill>
                  <a:schemeClr val="bg1"/>
                </a:solidFill>
                <a:latin typeface="DilleniaUPC" panose="02020603050405020304" pitchFamily="18" charset="-34"/>
                <a:cs typeface="DilleniaUPC" panose="02020603050405020304" pitchFamily="18" charset="-34"/>
              </a:rPr>
              <a:t>WebDriver is designed to provide a simpler, more concise programming interface in addition to addressing some limitations in the Selenium-RC </a:t>
            </a:r>
            <a:r>
              <a:rPr lang="en-US" sz="3200" dirty="0" smtClean="0">
                <a:solidFill>
                  <a:schemeClr val="bg1"/>
                </a:solidFill>
                <a:latin typeface="DilleniaUPC" panose="02020603050405020304" pitchFamily="18" charset="-34"/>
                <a:cs typeface="DilleniaUPC" panose="02020603050405020304" pitchFamily="18" charset="-34"/>
              </a:rPr>
              <a:t>API.</a:t>
            </a:r>
            <a:endParaRPr lang="en-US" sz="3200" dirty="0">
              <a:solidFill>
                <a:schemeClr val="bg1"/>
              </a:solidFill>
              <a:latin typeface="DilleniaUPC" panose="02020603050405020304" pitchFamily="18" charset="-34"/>
              <a:cs typeface="DilleniaUPC" panose="02020603050405020304" pitchFamily="18" charset="-34"/>
            </a:endParaRPr>
          </a:p>
        </p:txBody>
      </p:sp>
      <p:sp>
        <p:nvSpPr>
          <p:cNvPr id="8" name="TextBox 7"/>
          <p:cNvSpPr txBox="1"/>
          <p:nvPr/>
        </p:nvSpPr>
        <p:spPr>
          <a:xfrm>
            <a:off x="4498335" y="4169049"/>
            <a:ext cx="7357776" cy="2281476"/>
          </a:xfrm>
          <a:prstGeom prst="roundRect">
            <a:avLst/>
          </a:prstGeom>
          <a:solidFill>
            <a:srgbClr val="0070C0"/>
          </a:solidFill>
        </p:spPr>
        <p:txBody>
          <a:bodyPr wrap="square" rtlCol="0">
            <a:spAutoFit/>
          </a:bodyPr>
          <a:lstStyle/>
          <a:p>
            <a:pPr algn="just"/>
            <a:r>
              <a:rPr lang="en-US" sz="3200" dirty="0">
                <a:solidFill>
                  <a:schemeClr val="bg1"/>
                </a:solidFill>
                <a:latin typeface="DilleniaUPC" panose="02020603050405020304" pitchFamily="18" charset="-34"/>
                <a:cs typeface="DilleniaUPC" panose="02020603050405020304" pitchFamily="18" charset="-34"/>
              </a:rPr>
              <a:t>WebDriver’s goal is to supply a well-designed object-oriented API that provides improved support for modern advanced web-app testing problems.</a:t>
            </a:r>
          </a:p>
        </p:txBody>
      </p:sp>
    </p:spTree>
    <p:extLst>
      <p:ext uri="{BB962C8B-B14F-4D97-AF65-F5344CB8AC3E}">
        <p14:creationId xmlns:p14="http://schemas.microsoft.com/office/powerpoint/2010/main" val="31844404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FFD966"/>
        </a:solidFill>
        <a:effectLst/>
      </p:bgPr>
    </p:bg>
    <p:spTree>
      <p:nvGrpSpPr>
        <p:cNvPr id="1" name=""/>
        <p:cNvGrpSpPr/>
        <p:nvPr/>
      </p:nvGrpSpPr>
      <p:grpSpPr>
        <a:xfrm>
          <a:off x="0" y="0"/>
          <a:ext cx="0" cy="0"/>
          <a:chOff x="0" y="0"/>
          <a:chExt cx="0" cy="0"/>
        </a:xfrm>
      </p:grpSpPr>
      <p:sp>
        <p:nvSpPr>
          <p:cNvPr id="5" name="Rectangle 4"/>
          <p:cNvSpPr/>
          <p:nvPr/>
        </p:nvSpPr>
        <p:spPr>
          <a:xfrm>
            <a:off x="-3277517" y="5322550"/>
            <a:ext cx="10392692" cy="1446550"/>
          </a:xfrm>
          <a:prstGeom prst="rect">
            <a:avLst/>
          </a:prstGeom>
          <a:noFill/>
        </p:spPr>
        <p:txBody>
          <a:bodyPr wrap="square" lIns="91440" tIns="45720" rIns="91440" bIns="45720">
            <a:spAutoFit/>
          </a:bodyPr>
          <a:lstStyle/>
          <a:p>
            <a:pPr algn="ctr"/>
            <a:r>
              <a:rPr lang="en-US" sz="8800" b="1" cap="none" spc="0" dirty="0" smtClean="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rPr>
              <a:t>Drivers</a:t>
            </a:r>
            <a:endParaRPr lang="en-US" sz="8800" b="1" cap="none" spc="0" dirty="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endParaRPr>
          </a:p>
        </p:txBody>
      </p:sp>
      <p:graphicFrame>
        <p:nvGraphicFramePr>
          <p:cNvPr id="6" name="Diagram 5"/>
          <p:cNvGraphicFramePr/>
          <p:nvPr>
            <p:extLst>
              <p:ext uri="{D42A27DB-BD31-4B8C-83A1-F6EECF244321}">
                <p14:modId xmlns:p14="http://schemas.microsoft.com/office/powerpoint/2010/main" val="1528448400"/>
              </p:ext>
            </p:extLst>
          </p:nvPr>
        </p:nvGraphicFramePr>
        <p:xfrm>
          <a:off x="1638300" y="0"/>
          <a:ext cx="9886950"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48375" y="2895600"/>
            <a:ext cx="1066800" cy="1066800"/>
          </a:xfrm>
          <a:prstGeom prst="rect">
            <a:avLst/>
          </a:prstGeom>
        </p:spPr>
      </p:pic>
    </p:spTree>
    <p:extLst>
      <p:ext uri="{BB962C8B-B14F-4D97-AF65-F5344CB8AC3E}">
        <p14:creationId xmlns:p14="http://schemas.microsoft.com/office/powerpoint/2010/main" val="16475163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F4B183"/>
        </a:solidFill>
        <a:effectLst/>
      </p:bgPr>
    </p:bg>
    <p:spTree>
      <p:nvGrpSpPr>
        <p:cNvPr id="1" name=""/>
        <p:cNvGrpSpPr/>
        <p:nvPr/>
      </p:nvGrpSpPr>
      <p:grpSpPr>
        <a:xfrm>
          <a:off x="0" y="0"/>
          <a:ext cx="0" cy="0"/>
          <a:chOff x="0" y="0"/>
          <a:chExt cx="0" cy="0"/>
        </a:xfrm>
      </p:grpSpPr>
      <p:sp>
        <p:nvSpPr>
          <p:cNvPr id="4" name="Rounded Rectangle 3"/>
          <p:cNvSpPr/>
          <p:nvPr/>
        </p:nvSpPr>
        <p:spPr>
          <a:xfrm>
            <a:off x="1041740" y="516999"/>
            <a:ext cx="9510053" cy="1149155"/>
          </a:xfrm>
          <a:prstGeom prst="roundRect">
            <a:avLst/>
          </a:prstGeom>
          <a:gradFill flip="none" rotWithShape="1">
            <a:gsLst>
              <a:gs pos="0">
                <a:srgbClr val="EC7320"/>
              </a:gs>
              <a:gs pos="53000">
                <a:srgbClr val="F2A36E"/>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1694521" y="368301"/>
            <a:ext cx="8204490" cy="1323439"/>
          </a:xfrm>
          <a:prstGeom prst="rect">
            <a:avLst/>
          </a:prstGeom>
          <a:noFill/>
        </p:spPr>
        <p:txBody>
          <a:bodyPr wrap="none" lIns="91440" tIns="45720" rIns="91440" bIns="45720">
            <a:spAutoFit/>
          </a:bodyPr>
          <a:lstStyle/>
          <a:p>
            <a:pPr algn="ctr"/>
            <a:r>
              <a:rPr lang="en-US" sz="8000" b="1" cap="none" spc="0" dirty="0" smtClean="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rPr>
              <a:t>SELENIUM GRID</a:t>
            </a:r>
            <a:endParaRPr lang="en-US" sz="8000" b="1" cap="none" spc="0" dirty="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endParaRPr>
          </a:p>
        </p:txBody>
      </p:sp>
      <p:sp>
        <p:nvSpPr>
          <p:cNvPr id="6" name="TextBox 5"/>
          <p:cNvSpPr txBox="1"/>
          <p:nvPr/>
        </p:nvSpPr>
        <p:spPr>
          <a:xfrm>
            <a:off x="1045843" y="1963549"/>
            <a:ext cx="9505950" cy="4401205"/>
          </a:xfrm>
          <a:prstGeom prst="rect">
            <a:avLst/>
          </a:prstGeom>
          <a:noFill/>
        </p:spPr>
        <p:txBody>
          <a:bodyPr wrap="square" rtlCol="0">
            <a:spAutoFit/>
          </a:bodyPr>
          <a:lstStyle/>
          <a:p>
            <a:pPr algn="just"/>
            <a:r>
              <a:rPr lang="en-US" sz="4000" dirty="0" smtClean="0">
                <a:latin typeface="DilleniaUPC" panose="02020603050405020304" pitchFamily="18" charset="-34"/>
                <a:cs typeface="DilleniaUPC" panose="02020603050405020304" pitchFamily="18" charset="-34"/>
              </a:rPr>
              <a:t>Selenium-Grid allows you run your tests on different machines against different browsers in parallel. That is, running multiple tests at the same time against different machines running different browsers and operating systems. Essentially, Selenium-Grid support distributed test execution.</a:t>
            </a:r>
            <a:endParaRPr lang="en-US" sz="4000" dirty="0">
              <a:latin typeface="DilleniaUPC" panose="02020603050405020304" pitchFamily="18" charset="-34"/>
              <a:cs typeface="DilleniaUPC" panose="02020603050405020304" pitchFamily="18" charset="-34"/>
            </a:endParaRPr>
          </a:p>
        </p:txBody>
      </p:sp>
    </p:spTree>
    <p:extLst>
      <p:ext uri="{BB962C8B-B14F-4D97-AF65-F5344CB8AC3E}">
        <p14:creationId xmlns:p14="http://schemas.microsoft.com/office/powerpoint/2010/main" val="77193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F4B183"/>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5800" y="1809959"/>
            <a:ext cx="2247900" cy="22479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0625" y="1671846"/>
            <a:ext cx="1819275" cy="2524125"/>
          </a:xfrm>
          <a:prstGeom prst="rect">
            <a:avLst/>
          </a:prstGeom>
        </p:spPr>
      </p:pic>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90767" y="118764"/>
            <a:ext cx="2021198" cy="2021198"/>
          </a:xfrm>
          <a:prstGeom prst="rect">
            <a:avLst/>
          </a:prstGeom>
        </p:spPr>
      </p:pic>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90767" y="2448286"/>
            <a:ext cx="2021198" cy="2021198"/>
          </a:xfrm>
          <a:prstGeom prst="rect">
            <a:avLst/>
          </a:prstGeom>
        </p:spPr>
      </p:pic>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90767" y="4777808"/>
            <a:ext cx="2021198" cy="2021198"/>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50826" y="499381"/>
            <a:ext cx="1200150" cy="120015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9311" y="2865925"/>
            <a:ext cx="1143180" cy="1330046"/>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4578" y="2762218"/>
            <a:ext cx="656955" cy="656955"/>
          </a:xfrm>
          <a:prstGeom prst="rect">
            <a:avLst/>
          </a:prstGeom>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6635" y="5118946"/>
            <a:ext cx="669461" cy="669461"/>
          </a:xfrm>
          <a:prstGeom prst="rect">
            <a:avLst/>
          </a:prstGeom>
        </p:spPr>
      </p:pic>
      <p:pic>
        <p:nvPicPr>
          <p:cNvPr id="18" name="Picture 17"/>
          <p:cNvPicPr>
            <a:picLocks noChangeAspect="1"/>
          </p:cNvPicPr>
          <p:nvPr/>
        </p:nvPicPr>
        <p:blipFill>
          <a:blip r:embed="rId8" cstate="print">
            <a:extLst>
              <a:ext uri="{BEBA8EAE-BF5A-486C-A8C5-ECC9F3942E4B}">
                <a14:imgProps xmlns:a14="http://schemas.microsoft.com/office/drawing/2010/main">
                  <a14:imgLayer r:embed="rId9">
                    <a14:imgEffect>
                      <a14:backgroundRemoval t="0" b="100000" l="0" r="100000">
                        <a14:foregroundMark x1="44118" y1="57353" x2="44118" y2="57353"/>
                        <a14:foregroundMark x1="54902" y1="46569" x2="50490" y2="51471"/>
                        <a14:foregroundMark x1="49510" y1="45098" x2="49510" y2="54412"/>
                        <a14:foregroundMark x1="51961" y1="38725" x2="42157" y2="49510"/>
                      </a14:backgroundRemoval>
                    </a14:imgEffect>
                  </a14:imgLayer>
                </a14:imgProps>
              </a:ext>
              <a:ext uri="{28A0092B-C50C-407E-A947-70E740481C1C}">
                <a14:useLocalDpi xmlns:a14="http://schemas.microsoft.com/office/drawing/2010/main" val="0"/>
              </a:ext>
            </a:extLst>
          </a:blip>
          <a:stretch>
            <a:fillRect/>
          </a:stretch>
        </p:blipFill>
        <p:spPr>
          <a:xfrm>
            <a:off x="10705371" y="2762218"/>
            <a:ext cx="619610" cy="619610"/>
          </a:xfrm>
          <a:prstGeom prst="rect">
            <a:avLst/>
          </a:prstGeom>
        </p:spPr>
      </p:pic>
      <p:pic>
        <p:nvPicPr>
          <p:cNvPr id="19" name="Picture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51937" y="5118946"/>
            <a:ext cx="1429431" cy="1429431"/>
          </a:xfrm>
          <a:prstGeom prst="rect">
            <a:avLst/>
          </a:prstGeom>
        </p:spPr>
      </p:pic>
      <p:pic>
        <p:nvPicPr>
          <p:cNvPr id="20" name="Picture 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72832" y="3198846"/>
            <a:ext cx="608444" cy="608444"/>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20740" y="358606"/>
            <a:ext cx="656955" cy="656955"/>
          </a:xfrm>
          <a:prstGeom prst="rect">
            <a:avLst/>
          </a:prstGeom>
        </p:spPr>
      </p:pic>
      <p:pic>
        <p:nvPicPr>
          <p:cNvPr id="22" name="Picture 2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741533" y="358606"/>
            <a:ext cx="619610" cy="619610"/>
          </a:xfrm>
          <a:prstGeom prst="rect">
            <a:avLst/>
          </a:prstGeom>
        </p:spPr>
      </p:pic>
      <p:pic>
        <p:nvPicPr>
          <p:cNvPr id="23" name="Picture 22"/>
          <p:cNvPicPr>
            <a:picLocks noChangeAspect="1"/>
          </p:cNvPicPr>
          <p:nvPr/>
        </p:nvPicPr>
        <p:blipFill>
          <a:blip r:embed="rId13" cstate="print">
            <a:extLst>
              <a:ext uri="{BEBA8EAE-BF5A-486C-A8C5-ECC9F3942E4B}">
                <a14:imgProps xmlns:a14="http://schemas.microsoft.com/office/drawing/2010/main">
                  <a14:imgLayer r:embed="rId1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10408994" y="795234"/>
            <a:ext cx="608444" cy="608444"/>
          </a:xfrm>
          <a:prstGeom prst="rect">
            <a:avLst/>
          </a:prstGeom>
        </p:spPr>
      </p:pic>
      <p:pic>
        <p:nvPicPr>
          <p:cNvPr id="24" name="Picture 2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766034" y="5143871"/>
            <a:ext cx="619610" cy="619610"/>
          </a:xfrm>
          <a:prstGeom prst="rect">
            <a:avLst/>
          </a:prstGeom>
        </p:spPr>
      </p:pic>
      <p:sp>
        <p:nvSpPr>
          <p:cNvPr id="25" name="TextBox 24"/>
          <p:cNvSpPr txBox="1"/>
          <p:nvPr/>
        </p:nvSpPr>
        <p:spPr>
          <a:xfrm>
            <a:off x="1538307" y="2448286"/>
            <a:ext cx="1124745" cy="646331"/>
          </a:xfrm>
          <a:prstGeom prst="rect">
            <a:avLst/>
          </a:prstGeom>
          <a:noFill/>
        </p:spPr>
        <p:txBody>
          <a:bodyPr wrap="square" rtlCol="0">
            <a:spAutoFit/>
          </a:bodyPr>
          <a:lstStyle/>
          <a:p>
            <a:r>
              <a:rPr lang="en-US" sz="3600" b="1" dirty="0" smtClean="0">
                <a:solidFill>
                  <a:schemeClr val="bg1"/>
                </a:solidFill>
              </a:rPr>
              <a:t>.NET</a:t>
            </a:r>
            <a:endParaRPr lang="en-US" sz="3600" b="1" dirty="0">
              <a:solidFill>
                <a:schemeClr val="bg1"/>
              </a:solidFill>
            </a:endParaRPr>
          </a:p>
        </p:txBody>
      </p:sp>
      <p:cxnSp>
        <p:nvCxnSpPr>
          <p:cNvPr id="32" name="Elbow Connector 31"/>
          <p:cNvCxnSpPr>
            <a:stCxn id="7" idx="3"/>
            <a:endCxn id="12" idx="1"/>
          </p:cNvCxnSpPr>
          <p:nvPr/>
        </p:nvCxnSpPr>
        <p:spPr>
          <a:xfrm flipV="1">
            <a:off x="6819900" y="1099456"/>
            <a:ext cx="1430926" cy="1834453"/>
          </a:xfrm>
          <a:prstGeom prst="bentConnector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7" idx="3"/>
            <a:endCxn id="13" idx="1"/>
          </p:cNvCxnSpPr>
          <p:nvPr/>
        </p:nvCxnSpPr>
        <p:spPr>
          <a:xfrm>
            <a:off x="6819900" y="2933909"/>
            <a:ext cx="1459411" cy="597039"/>
          </a:xfrm>
          <a:prstGeom prst="bentConnector3">
            <a:avLst>
              <a:gd name="adj1" fmla="val 4902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7" idx="3"/>
            <a:endCxn id="19" idx="1"/>
          </p:cNvCxnSpPr>
          <p:nvPr/>
        </p:nvCxnSpPr>
        <p:spPr>
          <a:xfrm>
            <a:off x="6819900" y="2933909"/>
            <a:ext cx="1332037" cy="2899753"/>
          </a:xfrm>
          <a:prstGeom prst="bentConnector3">
            <a:avLst>
              <a:gd name="adj1" fmla="val 53575"/>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26401" y="4060619"/>
            <a:ext cx="2243058" cy="646331"/>
          </a:xfrm>
          <a:prstGeom prst="rect">
            <a:avLst/>
          </a:prstGeom>
          <a:noFill/>
        </p:spPr>
        <p:txBody>
          <a:bodyPr wrap="square" rtlCol="0">
            <a:spAutoFit/>
          </a:bodyPr>
          <a:lstStyle/>
          <a:p>
            <a:r>
              <a:rPr lang="en-US" sz="3600" b="1" dirty="0" smtClean="0"/>
              <a:t>Developer</a:t>
            </a:r>
            <a:endParaRPr lang="en-US" sz="3600" b="1" dirty="0"/>
          </a:p>
        </p:txBody>
      </p:sp>
      <p:sp>
        <p:nvSpPr>
          <p:cNvPr id="41" name="TextBox 40"/>
          <p:cNvSpPr txBox="1"/>
          <p:nvPr/>
        </p:nvSpPr>
        <p:spPr>
          <a:xfrm>
            <a:off x="4238945" y="4118995"/>
            <a:ext cx="3370951" cy="646331"/>
          </a:xfrm>
          <a:prstGeom prst="rect">
            <a:avLst/>
          </a:prstGeom>
          <a:noFill/>
        </p:spPr>
        <p:txBody>
          <a:bodyPr wrap="square" rtlCol="0">
            <a:spAutoFit/>
          </a:bodyPr>
          <a:lstStyle/>
          <a:p>
            <a:r>
              <a:rPr lang="en-US" sz="3600" b="1" dirty="0" smtClean="0"/>
              <a:t>Selenium Hub</a:t>
            </a:r>
            <a:endParaRPr lang="en-US" sz="3600" b="1" dirty="0"/>
          </a:p>
        </p:txBody>
      </p:sp>
      <p:pic>
        <p:nvPicPr>
          <p:cNvPr id="42" name="Picture 4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177485" y="2995046"/>
            <a:ext cx="867875" cy="867875"/>
          </a:xfrm>
          <a:prstGeom prst="rect">
            <a:avLst/>
          </a:prstGeom>
        </p:spPr>
      </p:pic>
      <p:sp>
        <p:nvSpPr>
          <p:cNvPr id="43" name="TextBox 42"/>
          <p:cNvSpPr txBox="1"/>
          <p:nvPr/>
        </p:nvSpPr>
        <p:spPr>
          <a:xfrm>
            <a:off x="11624154" y="-8700"/>
            <a:ext cx="476645" cy="1938992"/>
          </a:xfrm>
          <a:prstGeom prst="rect">
            <a:avLst/>
          </a:prstGeom>
          <a:noFill/>
        </p:spPr>
        <p:txBody>
          <a:bodyPr wrap="square" rtlCol="0">
            <a:spAutoFit/>
          </a:bodyPr>
          <a:lstStyle/>
          <a:p>
            <a:r>
              <a:rPr lang="en-US" sz="2400" b="1" dirty="0" smtClean="0"/>
              <a:t>N</a:t>
            </a:r>
          </a:p>
          <a:p>
            <a:r>
              <a:rPr lang="en-US" sz="2400" b="1" dirty="0" smtClean="0"/>
              <a:t>O</a:t>
            </a:r>
          </a:p>
          <a:p>
            <a:r>
              <a:rPr lang="en-US" sz="2400" b="1" dirty="0" smtClean="0"/>
              <a:t>D</a:t>
            </a:r>
          </a:p>
          <a:p>
            <a:r>
              <a:rPr lang="en-US" sz="2400" b="1" dirty="0" smtClean="0"/>
              <a:t>E</a:t>
            </a:r>
            <a:endParaRPr lang="en-US" sz="2400" b="1" dirty="0"/>
          </a:p>
          <a:p>
            <a:r>
              <a:rPr lang="en-US" sz="2400" b="1" dirty="0" smtClean="0"/>
              <a:t>1</a:t>
            </a:r>
            <a:endParaRPr lang="en-US" sz="2400" b="1" dirty="0"/>
          </a:p>
        </p:txBody>
      </p:sp>
      <p:cxnSp>
        <p:nvCxnSpPr>
          <p:cNvPr id="45" name="Straight Arrow Connector 44"/>
          <p:cNvCxnSpPr>
            <a:stCxn id="3" idx="3"/>
            <a:endCxn id="7" idx="1"/>
          </p:cNvCxnSpPr>
          <p:nvPr/>
        </p:nvCxnSpPr>
        <p:spPr>
          <a:xfrm>
            <a:off x="2933700" y="2933909"/>
            <a:ext cx="206692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1624154" y="2412332"/>
            <a:ext cx="476645" cy="1938992"/>
          </a:xfrm>
          <a:prstGeom prst="rect">
            <a:avLst/>
          </a:prstGeom>
          <a:noFill/>
        </p:spPr>
        <p:txBody>
          <a:bodyPr wrap="square" rtlCol="0">
            <a:spAutoFit/>
          </a:bodyPr>
          <a:lstStyle/>
          <a:p>
            <a:r>
              <a:rPr lang="en-US" sz="2400" b="1" dirty="0" smtClean="0"/>
              <a:t>N</a:t>
            </a:r>
          </a:p>
          <a:p>
            <a:r>
              <a:rPr lang="en-US" sz="2400" b="1" dirty="0" smtClean="0"/>
              <a:t>O</a:t>
            </a:r>
          </a:p>
          <a:p>
            <a:r>
              <a:rPr lang="en-US" sz="2400" b="1" dirty="0" smtClean="0"/>
              <a:t>D</a:t>
            </a:r>
          </a:p>
          <a:p>
            <a:r>
              <a:rPr lang="en-US" sz="2400" b="1" dirty="0" smtClean="0"/>
              <a:t>E</a:t>
            </a:r>
            <a:endParaRPr lang="en-US" sz="2400" b="1" dirty="0"/>
          </a:p>
          <a:p>
            <a:r>
              <a:rPr lang="en-US" sz="2400" b="1" dirty="0"/>
              <a:t>2</a:t>
            </a:r>
          </a:p>
        </p:txBody>
      </p:sp>
      <p:sp>
        <p:nvSpPr>
          <p:cNvPr id="47" name="TextBox 46"/>
          <p:cNvSpPr txBox="1"/>
          <p:nvPr/>
        </p:nvSpPr>
        <p:spPr>
          <a:xfrm>
            <a:off x="11620587" y="4873267"/>
            <a:ext cx="476645" cy="1938992"/>
          </a:xfrm>
          <a:prstGeom prst="rect">
            <a:avLst/>
          </a:prstGeom>
          <a:noFill/>
        </p:spPr>
        <p:txBody>
          <a:bodyPr wrap="square" rtlCol="0">
            <a:spAutoFit/>
          </a:bodyPr>
          <a:lstStyle/>
          <a:p>
            <a:r>
              <a:rPr lang="en-US" sz="2400" b="1" dirty="0" smtClean="0"/>
              <a:t>N</a:t>
            </a:r>
          </a:p>
          <a:p>
            <a:r>
              <a:rPr lang="en-US" sz="2400" b="1" dirty="0" smtClean="0"/>
              <a:t>O</a:t>
            </a:r>
          </a:p>
          <a:p>
            <a:r>
              <a:rPr lang="en-US" sz="2400" b="1" dirty="0" smtClean="0"/>
              <a:t>D</a:t>
            </a:r>
          </a:p>
          <a:p>
            <a:r>
              <a:rPr lang="en-US" sz="2400" b="1" dirty="0" smtClean="0"/>
              <a:t>E</a:t>
            </a:r>
            <a:endParaRPr lang="en-US" sz="2400" b="1" dirty="0"/>
          </a:p>
          <a:p>
            <a:r>
              <a:rPr lang="en-US" sz="2400" b="1" dirty="0" smtClean="0"/>
              <a:t>3</a:t>
            </a:r>
            <a:endParaRPr lang="en-US" sz="2400" b="1" dirty="0"/>
          </a:p>
        </p:txBody>
      </p:sp>
    </p:spTree>
    <p:extLst>
      <p:ext uri="{BB962C8B-B14F-4D97-AF65-F5344CB8AC3E}">
        <p14:creationId xmlns:p14="http://schemas.microsoft.com/office/powerpoint/2010/main" val="3218343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4030899" y="368301"/>
            <a:ext cx="3531737" cy="1446550"/>
          </a:xfrm>
          <a:prstGeom prst="rect">
            <a:avLst/>
          </a:prstGeom>
          <a:noFill/>
        </p:spPr>
        <p:txBody>
          <a:bodyPr wrap="none" lIns="91440" tIns="45720" rIns="91440" bIns="45720">
            <a:spAutoFit/>
          </a:bodyPr>
          <a:lstStyle/>
          <a:p>
            <a:pPr algn="ctr"/>
            <a:r>
              <a:rPr lang="en-US" sz="8800" b="1" cap="none" spc="0" dirty="0" smtClean="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rPr>
              <a:t>Reference:</a:t>
            </a:r>
            <a:endParaRPr lang="en-US" sz="8800" b="1" cap="none" spc="0" dirty="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endParaRPr>
          </a:p>
        </p:txBody>
      </p:sp>
      <p:sp>
        <p:nvSpPr>
          <p:cNvPr id="6" name="TextBox 5"/>
          <p:cNvSpPr txBox="1"/>
          <p:nvPr/>
        </p:nvSpPr>
        <p:spPr>
          <a:xfrm>
            <a:off x="2610305" y="2703409"/>
            <a:ext cx="7633446" cy="769441"/>
          </a:xfrm>
          <a:prstGeom prst="rect">
            <a:avLst/>
          </a:prstGeom>
          <a:noFill/>
        </p:spPr>
        <p:txBody>
          <a:bodyPr wrap="square" rtlCol="0">
            <a:spAutoFit/>
          </a:bodyPr>
          <a:lstStyle/>
          <a:p>
            <a:pPr algn="just"/>
            <a:r>
              <a:rPr lang="en-US" sz="4400" dirty="0">
                <a:latin typeface="DilleniaUPC" panose="02020603050405020304" pitchFamily="18" charset="-34"/>
                <a:cs typeface="DilleniaUPC" panose="02020603050405020304" pitchFamily="18" charset="-34"/>
              </a:rPr>
              <a:t>http://www.seleniumhq.org/</a:t>
            </a:r>
          </a:p>
        </p:txBody>
      </p:sp>
    </p:spTree>
    <p:extLst>
      <p:ext uri="{BB962C8B-B14F-4D97-AF65-F5344CB8AC3E}">
        <p14:creationId xmlns:p14="http://schemas.microsoft.com/office/powerpoint/2010/main" val="1716646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r="24447"/>
          <a:stretch/>
        </p:blipFill>
        <p:spPr>
          <a:xfrm>
            <a:off x="0" y="0"/>
            <a:ext cx="12192000" cy="6858000"/>
          </a:xfrm>
          <a:prstGeom prst="rect">
            <a:avLst/>
          </a:prstGeom>
        </p:spPr>
      </p:pic>
      <p:sp>
        <p:nvSpPr>
          <p:cNvPr id="13" name="Rectangle 12"/>
          <p:cNvSpPr/>
          <p:nvPr/>
        </p:nvSpPr>
        <p:spPr>
          <a:xfrm>
            <a:off x="600075" y="1611454"/>
            <a:ext cx="10991850" cy="1477328"/>
          </a:xfrm>
          <a:prstGeom prst="rect">
            <a:avLst/>
          </a:prstGeom>
          <a:solidFill>
            <a:srgbClr val="2D5F75"/>
          </a:solidFill>
        </p:spPr>
        <p:txBody>
          <a:bodyPr wrap="square" lIns="91440" tIns="365760" rIns="91440" bIns="274320" anchor="ctr" anchorCtr="1">
            <a:spAutoFit/>
          </a:bodyPr>
          <a:lstStyle/>
          <a:p>
            <a:pPr algn="ctr"/>
            <a:r>
              <a:rPr lang="en-US" sz="5400" b="1" cap="none" spc="0" dirty="0" smtClean="0">
                <a:ln w="0"/>
                <a:solidFill>
                  <a:schemeClr val="bg1"/>
                </a:solidFill>
                <a:effectLst>
                  <a:outerShdw blurRad="38100" dist="19050" dir="2700000" algn="tl" rotWithShape="0">
                    <a:schemeClr val="dk1">
                      <a:alpha val="40000"/>
                    </a:schemeClr>
                  </a:outerShdw>
                </a:effectLst>
                <a:latin typeface="Imprint MT Shadow" panose="04020605060303030202" pitchFamily="82" charset="0"/>
              </a:rPr>
              <a:t>TESTING AUTOMATION</a:t>
            </a:r>
            <a:endParaRPr lang="en-US" sz="5400" b="1" cap="none" spc="0" dirty="0">
              <a:ln w="0"/>
              <a:solidFill>
                <a:schemeClr val="bg1"/>
              </a:solidFill>
              <a:effectLst>
                <a:outerShdw blurRad="38100" dist="19050" dir="2700000" algn="tl" rotWithShape="0">
                  <a:schemeClr val="dk1">
                    <a:alpha val="40000"/>
                  </a:schemeClr>
                </a:outerShdw>
              </a:effectLst>
              <a:latin typeface="Imprint MT Shadow" panose="04020605060303030202" pitchFamily="82" charset="0"/>
            </a:endParaRPr>
          </a:p>
        </p:txBody>
      </p:sp>
      <p:sp>
        <p:nvSpPr>
          <p:cNvPr id="14" name="Rectangle 13"/>
          <p:cNvSpPr/>
          <p:nvPr/>
        </p:nvSpPr>
        <p:spPr>
          <a:xfrm>
            <a:off x="600075" y="3167748"/>
            <a:ext cx="257175" cy="1352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942975" y="3167748"/>
            <a:ext cx="419100" cy="1352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447800" y="3167748"/>
            <a:ext cx="552450" cy="1352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2085975" y="3167748"/>
            <a:ext cx="8000560" cy="1352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dirty="0" smtClean="0">
                <a:solidFill>
                  <a:schemeClr val="accent2"/>
                </a:solidFill>
                <a:latin typeface="Gill Sans Ultra Bold Condensed" panose="020B0A06020104020203" pitchFamily="34" charset="0"/>
              </a:rPr>
              <a:t>SELENIUM</a:t>
            </a:r>
            <a:endParaRPr lang="en-US" sz="8800" dirty="0">
              <a:solidFill>
                <a:schemeClr val="accent2"/>
              </a:solidFill>
              <a:latin typeface="Gill Sans Ultra Bold Condensed" panose="020B0A06020104020203" pitchFamily="34" charset="0"/>
            </a:endParaRPr>
          </a:p>
        </p:txBody>
      </p:sp>
      <p:sp>
        <p:nvSpPr>
          <p:cNvPr id="20" name="Rectangle 19"/>
          <p:cNvSpPr/>
          <p:nvPr/>
        </p:nvSpPr>
        <p:spPr>
          <a:xfrm>
            <a:off x="11317751" y="3167748"/>
            <a:ext cx="257175" cy="1352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10807065" y="3167748"/>
            <a:ext cx="419100" cy="1352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10172260" y="3167748"/>
            <a:ext cx="552450" cy="13525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612549" y="1335315"/>
            <a:ext cx="429768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269612" y="1335315"/>
            <a:ext cx="429768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072995" y="862293"/>
            <a:ext cx="2026516" cy="769441"/>
          </a:xfrm>
          <a:prstGeom prst="rect">
            <a:avLst/>
          </a:prstGeom>
          <a:noFill/>
        </p:spPr>
        <p:txBody>
          <a:bodyPr wrap="none" lIns="91440" tIns="45720" rIns="91440" bIns="45720">
            <a:spAutoFit/>
          </a:bodyPr>
          <a:lstStyle/>
          <a:p>
            <a:pPr algn="ctr"/>
            <a:r>
              <a:rPr lang="en-US" sz="4400" b="1" cap="none" spc="0" dirty="0" smtClean="0">
                <a:ln w="0"/>
                <a:solidFill>
                  <a:schemeClr val="tx2">
                    <a:lumMod val="75000"/>
                  </a:schemeClr>
                </a:solidFill>
                <a:effectLst>
                  <a:outerShdw blurRad="38100" dist="19050" dir="2700000" algn="tl" rotWithShape="0">
                    <a:schemeClr val="dk1">
                      <a:alpha val="40000"/>
                    </a:schemeClr>
                  </a:outerShdw>
                </a:effectLst>
                <a:latin typeface="Britannic Bold" panose="020B0903060703020204" pitchFamily="34" charset="0"/>
              </a:rPr>
              <a:t>DevOps</a:t>
            </a:r>
            <a:endParaRPr lang="en-US" sz="4400" b="1" cap="none" spc="0" dirty="0">
              <a:ln w="0"/>
              <a:solidFill>
                <a:schemeClr val="tx2">
                  <a:lumMod val="75000"/>
                </a:schemeClr>
              </a:solidFill>
              <a:effectLst>
                <a:outerShdw blurRad="38100" dist="19050" dir="2700000" algn="tl" rotWithShape="0">
                  <a:schemeClr val="dk1">
                    <a:alpha val="40000"/>
                  </a:schemeClr>
                </a:outerShdw>
              </a:effectLst>
              <a:latin typeface="Britannic Bold" panose="020B0903060703020204" pitchFamily="34" charset="0"/>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1728" y="4663710"/>
            <a:ext cx="1948543" cy="1948543"/>
          </a:xfrm>
          <a:prstGeom prst="rect">
            <a:avLst/>
          </a:prstGeom>
        </p:spPr>
      </p:pic>
    </p:spTree>
    <p:extLst>
      <p:ext uri="{BB962C8B-B14F-4D97-AF65-F5344CB8AC3E}">
        <p14:creationId xmlns:p14="http://schemas.microsoft.com/office/powerpoint/2010/main" val="1829874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75000"/>
          </a:schemeClr>
        </a:solidFill>
        <a:effectLst/>
      </p:bgPr>
    </p:bg>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929646436"/>
              </p:ext>
            </p:extLst>
          </p:nvPr>
        </p:nvGraphicFramePr>
        <p:xfrm>
          <a:off x="2046514" y="70515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6242" y="2454727"/>
            <a:ext cx="1948543" cy="1948543"/>
          </a:xfrm>
          <a:prstGeom prst="rect">
            <a:avLst/>
          </a:prstGeom>
        </p:spPr>
      </p:pic>
    </p:spTree>
    <p:extLst>
      <p:ext uri="{BB962C8B-B14F-4D97-AF65-F5344CB8AC3E}">
        <p14:creationId xmlns:p14="http://schemas.microsoft.com/office/powerpoint/2010/main" val="4243367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 fill="hold">
                                          <p:stCondLst>
                                            <p:cond delay="0"/>
                                          </p:stCondLst>
                                        </p:cTn>
                                        <p:tgtEl>
                                          <p:spTgt spid="4">
                                            <p:graphicEl>
                                              <a:dgm id="{D48EF8BF-5324-4D64-817E-F91EC1DCBAEF}"/>
                                            </p:graphicEl>
                                          </p:spTgt>
                                        </p:tgtEl>
                                        <p:attrNameLst>
                                          <p:attrName>style.visibility</p:attrName>
                                        </p:attrNameLst>
                                      </p:cBhvr>
                                      <p:to>
                                        <p:strVal val="visible"/>
                                      </p:to>
                                    </p:set>
                                    <p:animEffect transition="in" filter="box(in)">
                                      <p:cBhvr>
                                        <p:cTn id="7" dur="500"/>
                                        <p:tgtEl>
                                          <p:spTgt spid="4">
                                            <p:graphicEl>
                                              <a:dgm id="{D48EF8BF-5324-4D64-817E-F91EC1DCBAE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4">
                                            <p:graphicEl>
                                              <a:dgm id="{838F984C-D8DE-4013-983F-475FFC712030}"/>
                                            </p:graphicEl>
                                          </p:spTgt>
                                        </p:tgtEl>
                                        <p:attrNameLst>
                                          <p:attrName>style.visibility</p:attrName>
                                        </p:attrNameLst>
                                      </p:cBhvr>
                                      <p:to>
                                        <p:strVal val="visible"/>
                                      </p:to>
                                    </p:set>
                                    <p:animEffect transition="in" filter="box(in)">
                                      <p:cBhvr>
                                        <p:cTn id="12" dur="500"/>
                                        <p:tgtEl>
                                          <p:spTgt spid="4">
                                            <p:graphicEl>
                                              <a:dgm id="{838F984C-D8DE-4013-983F-475FFC7120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4">
                                            <p:graphicEl>
                                              <a:dgm id="{0A37FEDA-6266-4E60-BF79-FC689FEF1EF4}"/>
                                            </p:graphicEl>
                                          </p:spTgt>
                                        </p:tgtEl>
                                        <p:attrNameLst>
                                          <p:attrName>style.visibility</p:attrName>
                                        </p:attrNameLst>
                                      </p:cBhvr>
                                      <p:to>
                                        <p:strVal val="visible"/>
                                      </p:to>
                                    </p:set>
                                    <p:animEffect transition="in" filter="box(in)">
                                      <p:cBhvr>
                                        <p:cTn id="17" dur="500"/>
                                        <p:tgtEl>
                                          <p:spTgt spid="4">
                                            <p:graphicEl>
                                              <a:dgm id="{0A37FEDA-6266-4E60-BF79-FC689FEF1EF4}"/>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4">
                                            <p:graphicEl>
                                              <a:dgm id="{791099EC-C976-4D4E-AD11-1679A81D128D}"/>
                                            </p:graphicEl>
                                          </p:spTgt>
                                        </p:tgtEl>
                                        <p:attrNameLst>
                                          <p:attrName>style.visibility</p:attrName>
                                        </p:attrNameLst>
                                      </p:cBhvr>
                                      <p:to>
                                        <p:strVal val="visible"/>
                                      </p:to>
                                    </p:set>
                                    <p:animEffect transition="in" filter="box(in)">
                                      <p:cBhvr>
                                        <p:cTn id="22" dur="500"/>
                                        <p:tgtEl>
                                          <p:spTgt spid="4">
                                            <p:graphicEl>
                                              <a:dgm id="{791099EC-C976-4D4E-AD11-1679A81D128D}"/>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4">
                                            <p:graphicEl>
                                              <a:dgm id="{9AC5FAB6-BBC5-4727-AADA-5695596274E9}"/>
                                            </p:graphicEl>
                                          </p:spTgt>
                                        </p:tgtEl>
                                        <p:attrNameLst>
                                          <p:attrName>style.visibility</p:attrName>
                                        </p:attrNameLst>
                                      </p:cBhvr>
                                      <p:to>
                                        <p:strVal val="visible"/>
                                      </p:to>
                                    </p:set>
                                    <p:animEffect transition="in" filter="box(in)">
                                      <p:cBhvr>
                                        <p:cTn id="27" dur="500"/>
                                        <p:tgtEl>
                                          <p:spTgt spid="4">
                                            <p:graphicEl>
                                              <a:dgm id="{9AC5FAB6-BBC5-4727-AADA-5695596274E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0" y="0"/>
            <a:ext cx="12192000" cy="1719072"/>
          </a:xfrm>
          <a:prstGeom prst="rect">
            <a:avLst/>
          </a:prstGeom>
          <a:gradFill flip="none" rotWithShape="1">
            <a:gsLst>
              <a:gs pos="0">
                <a:srgbClr val="AC0000"/>
              </a:gs>
              <a:gs pos="54000">
                <a:srgbClr val="FF4343"/>
              </a:gs>
              <a:gs pos="83000">
                <a:srgbClr val="AC0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1719072"/>
            <a:ext cx="12192000" cy="1719072"/>
          </a:xfrm>
          <a:prstGeom prst="rect">
            <a:avLst/>
          </a:prstGeom>
          <a:gradFill flip="none" rotWithShape="1">
            <a:gsLst>
              <a:gs pos="0">
                <a:srgbClr val="0070C0"/>
              </a:gs>
              <a:gs pos="54000">
                <a:srgbClr val="0594FF"/>
              </a:gs>
              <a:gs pos="83000">
                <a:srgbClr val="0070C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38144"/>
            <a:ext cx="12192000" cy="1719072"/>
          </a:xfrm>
          <a:prstGeom prst="rect">
            <a:avLst/>
          </a:prstGeom>
          <a:gradFill flip="none" rotWithShape="1">
            <a:gsLst>
              <a:gs pos="0">
                <a:schemeClr val="accent2">
                  <a:lumMod val="75000"/>
                </a:schemeClr>
              </a:gs>
              <a:gs pos="54000">
                <a:srgbClr val="F29B60"/>
              </a:gs>
              <a:gs pos="83000">
                <a:schemeClr val="accent2">
                  <a:lumMod val="7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5157216"/>
            <a:ext cx="12192000" cy="1719072"/>
          </a:xfrm>
          <a:prstGeom prst="rect">
            <a:avLst/>
          </a:prstGeom>
          <a:gradFill flip="none" rotWithShape="1">
            <a:gsLst>
              <a:gs pos="0">
                <a:srgbClr val="008000"/>
              </a:gs>
              <a:gs pos="54000">
                <a:srgbClr val="00A400"/>
              </a:gs>
              <a:gs pos="83000">
                <a:srgbClr val="008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0668000" y="0"/>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p:cNvSpPr/>
          <p:nvPr/>
        </p:nvSpPr>
        <p:spPr>
          <a:xfrm rot="10800000">
            <a:off x="10668000" y="1304923"/>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0839361" y="-41432"/>
            <a:ext cx="923651" cy="1569660"/>
          </a:xfrm>
          <a:prstGeom prst="rect">
            <a:avLst/>
          </a:prstGeom>
          <a:noFill/>
        </p:spPr>
        <p:txBody>
          <a:bodyPr wrap="none" lIns="91440" tIns="45720" rIns="91440" bIns="45720">
            <a:spAutoFit/>
          </a:bodyPr>
          <a:lstStyle/>
          <a:p>
            <a:pPr algn="ctr"/>
            <a:r>
              <a:rPr lang="en-US" sz="9600" b="1" cap="none" spc="0" dirty="0" smtClean="0">
                <a:ln w="0"/>
                <a:solidFill>
                  <a:srgbClr val="B00303"/>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1</a:t>
            </a:r>
            <a:endParaRPr lang="en-US" sz="9600" b="1" cap="none" spc="0" dirty="0">
              <a:ln w="0"/>
              <a:solidFill>
                <a:srgbClr val="B00303"/>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endParaRPr>
          </a:p>
        </p:txBody>
      </p:sp>
      <p:sp>
        <p:nvSpPr>
          <p:cNvPr id="16" name="Rectangle 15"/>
          <p:cNvSpPr/>
          <p:nvPr/>
        </p:nvSpPr>
        <p:spPr>
          <a:xfrm>
            <a:off x="0" y="1719072"/>
            <a:ext cx="12192000" cy="127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a:off x="203396" y="1690279"/>
            <a:ext cx="1295400" cy="1697192"/>
            <a:chOff x="0" y="1680972"/>
            <a:chExt cx="1295400" cy="1697192"/>
          </a:xfrm>
        </p:grpSpPr>
        <p:sp>
          <p:nvSpPr>
            <p:cNvPr id="17" name="Rectangle 16"/>
            <p:cNvSpPr/>
            <p:nvPr/>
          </p:nvSpPr>
          <p:spPr>
            <a:xfrm>
              <a:off x="0" y="1722404"/>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p:cNvSpPr/>
            <p:nvPr/>
          </p:nvSpPr>
          <p:spPr>
            <a:xfrm rot="10800000">
              <a:off x="0" y="3027327"/>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71361" y="1680972"/>
              <a:ext cx="923651" cy="1569660"/>
            </a:xfrm>
            <a:prstGeom prst="rect">
              <a:avLst/>
            </a:prstGeom>
            <a:noFill/>
          </p:spPr>
          <p:txBody>
            <a:bodyPr wrap="none" lIns="91440" tIns="45720" rIns="91440" bIns="45720">
              <a:spAutoFit/>
            </a:bodyPr>
            <a:lstStyle/>
            <a:p>
              <a:pPr algn="ctr"/>
              <a:r>
                <a:rPr lang="en-US" sz="9600" b="1" cap="none" spc="0" dirty="0" smtClean="0">
                  <a:ln w="0"/>
                  <a:solidFill>
                    <a:srgbClr val="0594FF"/>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2</a:t>
              </a:r>
              <a:endParaRPr lang="en-US" sz="9600" b="1" cap="none" spc="0" dirty="0">
                <a:ln w="0"/>
                <a:solidFill>
                  <a:srgbClr val="0594FF"/>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endParaRPr>
            </a:p>
          </p:txBody>
        </p:sp>
      </p:grpSp>
      <p:sp>
        <p:nvSpPr>
          <p:cNvPr id="21" name="Rectangle 20"/>
          <p:cNvSpPr/>
          <p:nvPr/>
        </p:nvSpPr>
        <p:spPr>
          <a:xfrm>
            <a:off x="0" y="3437261"/>
            <a:ext cx="12192000" cy="127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p:nvGrpSpPr>
        <p:grpSpPr>
          <a:xfrm>
            <a:off x="10653486" y="3405999"/>
            <a:ext cx="1295400" cy="1697192"/>
            <a:chOff x="0" y="1680972"/>
            <a:chExt cx="1295400" cy="1697192"/>
          </a:xfrm>
        </p:grpSpPr>
        <p:sp>
          <p:nvSpPr>
            <p:cNvPr id="23" name="Rectangle 22"/>
            <p:cNvSpPr/>
            <p:nvPr/>
          </p:nvSpPr>
          <p:spPr>
            <a:xfrm>
              <a:off x="0" y="1722404"/>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p:cNvSpPr/>
            <p:nvPr/>
          </p:nvSpPr>
          <p:spPr>
            <a:xfrm rot="10800000">
              <a:off x="0" y="3027327"/>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171361" y="1680972"/>
              <a:ext cx="923651" cy="1569660"/>
            </a:xfrm>
            <a:prstGeom prst="rect">
              <a:avLst/>
            </a:prstGeom>
            <a:noFill/>
          </p:spPr>
          <p:txBody>
            <a:bodyPr wrap="none" lIns="91440" tIns="45720" rIns="91440" bIns="45720">
              <a:spAutoFit/>
            </a:bodyPr>
            <a:lstStyle/>
            <a:p>
              <a:pPr algn="ctr"/>
              <a:r>
                <a:rPr lang="en-US" sz="9600" b="1" cap="none" spc="0" dirty="0" smtClean="0">
                  <a:ln w="0"/>
                  <a:solidFill>
                    <a:schemeClr val="accent2">
                      <a:lumMod val="75000"/>
                    </a:schemeClr>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3</a:t>
              </a:r>
              <a:endParaRPr lang="en-US" sz="9600" b="1" cap="none" spc="0" dirty="0">
                <a:ln w="0"/>
                <a:solidFill>
                  <a:schemeClr val="accent2">
                    <a:lumMod val="75000"/>
                  </a:schemeClr>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endParaRPr>
            </a:p>
          </p:txBody>
        </p:sp>
      </p:grpSp>
      <p:grpSp>
        <p:nvGrpSpPr>
          <p:cNvPr id="26" name="Group 25"/>
          <p:cNvGrpSpPr/>
          <p:nvPr/>
        </p:nvGrpSpPr>
        <p:grpSpPr>
          <a:xfrm>
            <a:off x="233854" y="5088331"/>
            <a:ext cx="1295400" cy="1697192"/>
            <a:chOff x="0" y="1680972"/>
            <a:chExt cx="1295400" cy="1697192"/>
          </a:xfrm>
        </p:grpSpPr>
        <p:sp>
          <p:nvSpPr>
            <p:cNvPr id="27" name="Rectangle 26"/>
            <p:cNvSpPr/>
            <p:nvPr/>
          </p:nvSpPr>
          <p:spPr>
            <a:xfrm>
              <a:off x="0" y="1722404"/>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27"/>
            <p:cNvSpPr/>
            <p:nvPr/>
          </p:nvSpPr>
          <p:spPr>
            <a:xfrm rot="10800000">
              <a:off x="0" y="3027327"/>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171361" y="1680972"/>
              <a:ext cx="923651" cy="1569660"/>
            </a:xfrm>
            <a:prstGeom prst="rect">
              <a:avLst/>
            </a:prstGeom>
            <a:noFill/>
          </p:spPr>
          <p:txBody>
            <a:bodyPr wrap="none" lIns="91440" tIns="45720" rIns="91440" bIns="45720">
              <a:spAutoFit/>
            </a:bodyPr>
            <a:lstStyle/>
            <a:p>
              <a:pPr algn="ctr"/>
              <a:r>
                <a:rPr lang="en-US" sz="9600" b="1" cap="none" spc="0" dirty="0" smtClean="0">
                  <a:ln w="0"/>
                  <a:solidFill>
                    <a:srgbClr val="00A400"/>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4</a:t>
              </a:r>
              <a:endParaRPr lang="en-US" sz="9600" b="1" cap="none" spc="0" dirty="0">
                <a:ln w="0"/>
                <a:solidFill>
                  <a:srgbClr val="00A400"/>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endParaRPr>
            </a:p>
          </p:txBody>
        </p:sp>
      </p:grpSp>
      <p:sp>
        <p:nvSpPr>
          <p:cNvPr id="30" name="Rectangle 29"/>
          <p:cNvSpPr/>
          <p:nvPr/>
        </p:nvSpPr>
        <p:spPr>
          <a:xfrm>
            <a:off x="0" y="5133938"/>
            <a:ext cx="12192000" cy="127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604912" y="195601"/>
            <a:ext cx="9862700" cy="1815882"/>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Selenium is a suite of testing automation tools used for </a:t>
            </a:r>
            <a:r>
              <a:rPr lang="en-US" sz="2800" dirty="0" smtClean="0">
                <a:solidFill>
                  <a:schemeClr val="bg1"/>
                </a:solidFill>
                <a:latin typeface="Andalus" panose="02020603050405020304" pitchFamily="18" charset="-78"/>
                <a:cs typeface="Andalus" panose="02020603050405020304" pitchFamily="18" charset="-78"/>
              </a:rPr>
              <a:t>Web-Based </a:t>
            </a:r>
            <a:r>
              <a:rPr lang="en-US" sz="2800" dirty="0">
                <a:solidFill>
                  <a:schemeClr val="bg1"/>
                </a:solidFill>
                <a:latin typeface="Andalus" panose="02020603050405020304" pitchFamily="18" charset="-78"/>
                <a:cs typeface="Andalus" panose="02020603050405020304" pitchFamily="18" charset="-78"/>
              </a:rPr>
              <a:t>applications: Selenium IDE, Selenium RC, Selenium WebDriver and Selenium </a:t>
            </a:r>
            <a:r>
              <a:rPr lang="en-US" sz="2800" dirty="0" smtClean="0">
                <a:solidFill>
                  <a:schemeClr val="bg1"/>
                </a:solidFill>
                <a:latin typeface="Andalus" panose="02020603050405020304" pitchFamily="18" charset="-78"/>
                <a:cs typeface="Andalus" panose="02020603050405020304" pitchFamily="18" charset="-78"/>
              </a:rPr>
              <a:t>Grid.</a:t>
            </a:r>
            <a:endParaRPr lang="en-US" sz="2800" dirty="0">
              <a:solidFill>
                <a:schemeClr val="bg1"/>
              </a:solidFill>
              <a:latin typeface="Andalus" panose="02020603050405020304" pitchFamily="18" charset="-78"/>
              <a:cs typeface="Andalus" panose="02020603050405020304" pitchFamily="18" charset="-78"/>
            </a:endParaRPr>
          </a:p>
          <a:p>
            <a:pPr algn="ctr"/>
            <a:endParaRPr lang="en-US" sz="2800" dirty="0">
              <a:solidFill>
                <a:schemeClr val="bg1"/>
              </a:solidFill>
              <a:latin typeface="Andalus" panose="02020603050405020304" pitchFamily="18" charset="-78"/>
              <a:cs typeface="Andalus" panose="02020603050405020304" pitchFamily="18" charset="-78"/>
            </a:endParaRPr>
          </a:p>
        </p:txBody>
      </p:sp>
      <p:sp>
        <p:nvSpPr>
          <p:cNvPr id="32" name="TextBox 31"/>
          <p:cNvSpPr txBox="1"/>
          <p:nvPr/>
        </p:nvSpPr>
        <p:spPr>
          <a:xfrm>
            <a:off x="1684225" y="2091561"/>
            <a:ext cx="9862700" cy="954107"/>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These tools provide a rich set of testing functions specifically geared to varied testing scenarios of all types of Web </a:t>
            </a:r>
            <a:r>
              <a:rPr lang="en-US" sz="2800" dirty="0" smtClean="0">
                <a:solidFill>
                  <a:schemeClr val="bg1"/>
                </a:solidFill>
                <a:latin typeface="Andalus" panose="02020603050405020304" pitchFamily="18" charset="-78"/>
                <a:cs typeface="Andalus" panose="02020603050405020304" pitchFamily="18" charset="-78"/>
              </a:rPr>
              <a:t>applications. </a:t>
            </a:r>
            <a:endParaRPr lang="en-US" sz="2800" dirty="0">
              <a:solidFill>
                <a:schemeClr val="bg1"/>
              </a:solidFill>
              <a:latin typeface="Andalus" panose="02020603050405020304" pitchFamily="18" charset="-78"/>
              <a:cs typeface="Andalus" panose="02020603050405020304" pitchFamily="18" charset="-78"/>
            </a:endParaRPr>
          </a:p>
        </p:txBody>
      </p:sp>
      <p:sp>
        <p:nvSpPr>
          <p:cNvPr id="33" name="TextBox 32"/>
          <p:cNvSpPr txBox="1"/>
          <p:nvPr/>
        </p:nvSpPr>
        <p:spPr>
          <a:xfrm>
            <a:off x="916124" y="3651873"/>
            <a:ext cx="9862700" cy="1384995"/>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The operations provided by these tools are highly flexible and afford many options for comparing UI elements to expected application behavior</a:t>
            </a:r>
          </a:p>
        </p:txBody>
      </p:sp>
      <p:sp>
        <p:nvSpPr>
          <p:cNvPr id="34" name="TextBox 33"/>
          <p:cNvSpPr txBox="1"/>
          <p:nvPr/>
        </p:nvSpPr>
        <p:spPr>
          <a:xfrm>
            <a:off x="1387057" y="5709129"/>
            <a:ext cx="9862700" cy="523220"/>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Selenium tests can be executed on multiple browser platforms</a:t>
            </a:r>
          </a:p>
        </p:txBody>
      </p:sp>
    </p:spTree>
    <p:extLst>
      <p:ext uri="{BB962C8B-B14F-4D97-AF65-F5344CB8AC3E}">
        <p14:creationId xmlns:p14="http://schemas.microsoft.com/office/powerpoint/2010/main" val="609846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60000"/>
            <a:lumOff val="40000"/>
          </a:schemeClr>
        </a:solidFill>
        <a:effectLst/>
      </p:bgPr>
    </p:bg>
    <p:spTree>
      <p:nvGrpSpPr>
        <p:cNvPr id="1" name=""/>
        <p:cNvGrpSpPr/>
        <p:nvPr/>
      </p:nvGrpSpPr>
      <p:grpSpPr>
        <a:xfrm>
          <a:off x="0" y="0"/>
          <a:ext cx="0" cy="0"/>
          <a:chOff x="0" y="0"/>
          <a:chExt cx="0" cy="0"/>
        </a:xfrm>
      </p:grpSpPr>
      <p:sp>
        <p:nvSpPr>
          <p:cNvPr id="13" name="Pentagon 12"/>
          <p:cNvSpPr/>
          <p:nvPr/>
        </p:nvSpPr>
        <p:spPr>
          <a:xfrm flipH="1">
            <a:off x="7600950" y="4739911"/>
            <a:ext cx="4425266" cy="128016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gn="ctr"/>
            <a:endParaRPr lang="en-US" dirty="0">
              <a:solidFill>
                <a:schemeClr val="tx1"/>
              </a:solidFill>
            </a:endParaRPr>
          </a:p>
        </p:txBody>
      </p:sp>
      <p:sp>
        <p:nvSpPr>
          <p:cNvPr id="10" name="Pentagon 9"/>
          <p:cNvSpPr/>
          <p:nvPr/>
        </p:nvSpPr>
        <p:spPr>
          <a:xfrm flipH="1">
            <a:off x="7600950" y="2835301"/>
            <a:ext cx="4425266" cy="128016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gn="ctr"/>
            <a:endParaRPr lang="en-US" dirty="0">
              <a:solidFill>
                <a:schemeClr val="tx1"/>
              </a:solidFill>
            </a:endParaRPr>
          </a:p>
        </p:txBody>
      </p:sp>
      <p:sp>
        <p:nvSpPr>
          <p:cNvPr id="9" name="Pentagon 8"/>
          <p:cNvSpPr/>
          <p:nvPr/>
        </p:nvSpPr>
        <p:spPr>
          <a:xfrm flipH="1">
            <a:off x="7600950" y="947155"/>
            <a:ext cx="4425266" cy="128016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gn="ctr"/>
            <a:endParaRPr lang="en-US" dirty="0">
              <a:solidFill>
                <a:schemeClr val="tx1"/>
              </a:solidFill>
            </a:endParaRPr>
          </a:p>
        </p:txBody>
      </p:sp>
      <p:graphicFrame>
        <p:nvGraphicFramePr>
          <p:cNvPr id="5" name="Diagram 4"/>
          <p:cNvGraphicFramePr/>
          <p:nvPr>
            <p:extLst>
              <p:ext uri="{D42A27DB-BD31-4B8C-83A1-F6EECF244321}">
                <p14:modId xmlns:p14="http://schemas.microsoft.com/office/powerpoint/2010/main" val="1665007023"/>
              </p:ext>
            </p:extLst>
          </p:nvPr>
        </p:nvGraphicFramePr>
        <p:xfrm>
          <a:off x="0" y="69016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Pentagon 5"/>
          <p:cNvSpPr/>
          <p:nvPr/>
        </p:nvSpPr>
        <p:spPr>
          <a:xfrm flipH="1">
            <a:off x="7600950" y="863112"/>
            <a:ext cx="4425266" cy="1280160"/>
          </a:xfrm>
          <a:prstGeom prst="homePlat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gn="ctr"/>
            <a:r>
              <a:rPr lang="en-US" dirty="0">
                <a:solidFill>
                  <a:schemeClr val="tx1"/>
                </a:solidFill>
              </a:rPr>
              <a:t>Selenium IDE (Integrated Development Environment) is a prototyping tool for building test scripts.</a:t>
            </a:r>
          </a:p>
        </p:txBody>
      </p:sp>
      <p:sp>
        <p:nvSpPr>
          <p:cNvPr id="7" name="Pentagon 6"/>
          <p:cNvSpPr/>
          <p:nvPr/>
        </p:nvSpPr>
        <p:spPr>
          <a:xfrm flipH="1">
            <a:off x="7600950" y="2759422"/>
            <a:ext cx="4425266" cy="1280160"/>
          </a:xfrm>
          <a:prstGeom prst="homePlat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gn="ctr"/>
            <a:r>
              <a:rPr lang="en-US" dirty="0">
                <a:solidFill>
                  <a:schemeClr val="tx1"/>
                </a:solidFill>
              </a:rPr>
              <a:t>WebDriver is designed in a simpler and more concise programming interface along with </a:t>
            </a:r>
            <a:r>
              <a:rPr lang="en-US" dirty="0" smtClean="0">
                <a:solidFill>
                  <a:schemeClr val="tx1"/>
                </a:solidFill>
              </a:rPr>
              <a:t>Selenium-RC </a:t>
            </a:r>
            <a:r>
              <a:rPr lang="en-US" dirty="0">
                <a:solidFill>
                  <a:schemeClr val="tx1"/>
                </a:solidFill>
              </a:rPr>
              <a:t>API.</a:t>
            </a:r>
          </a:p>
        </p:txBody>
      </p:sp>
      <p:sp>
        <p:nvSpPr>
          <p:cNvPr id="8" name="Pentagon 7"/>
          <p:cNvSpPr/>
          <p:nvPr/>
        </p:nvSpPr>
        <p:spPr>
          <a:xfrm flipH="1">
            <a:off x="7600950" y="4655732"/>
            <a:ext cx="4425266" cy="1280160"/>
          </a:xfrm>
          <a:prstGeom prst="homePlat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gn="ctr"/>
            <a:r>
              <a:rPr lang="en-US" dirty="0">
                <a:solidFill>
                  <a:schemeClr val="tx1"/>
                </a:solidFill>
              </a:rPr>
              <a:t>A Grid consists of a single Hub, and one or more </a:t>
            </a:r>
            <a:r>
              <a:rPr lang="en-US" dirty="0" smtClean="0">
                <a:solidFill>
                  <a:schemeClr val="tx1"/>
                </a:solidFill>
              </a:rPr>
              <a:t>Nodes to distribute tests.</a:t>
            </a:r>
            <a:endParaRPr lang="en-US" dirty="0">
              <a:solidFill>
                <a:schemeClr val="tx1"/>
              </a:solidFill>
            </a:endParaRPr>
          </a:p>
        </p:txBody>
      </p:sp>
    </p:spTree>
    <p:extLst>
      <p:ext uri="{BB962C8B-B14F-4D97-AF65-F5344CB8AC3E}">
        <p14:creationId xmlns:p14="http://schemas.microsoft.com/office/powerpoint/2010/main" val="1257438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F8CBAD"/>
        </a:solidFill>
        <a:effectLst/>
      </p:bgPr>
    </p:bg>
    <p:spTree>
      <p:nvGrpSpPr>
        <p:cNvPr id="1" name=""/>
        <p:cNvGrpSpPr/>
        <p:nvPr/>
      </p:nvGrpSpPr>
      <p:grpSpPr>
        <a:xfrm>
          <a:off x="0" y="0"/>
          <a:ext cx="0" cy="0"/>
          <a:chOff x="0" y="0"/>
          <a:chExt cx="0" cy="0"/>
        </a:xfrm>
      </p:grpSpPr>
      <p:sp>
        <p:nvSpPr>
          <p:cNvPr id="5" name="Rounded Rectangle 4"/>
          <p:cNvSpPr/>
          <p:nvPr/>
        </p:nvSpPr>
        <p:spPr>
          <a:xfrm>
            <a:off x="1651338" y="311152"/>
            <a:ext cx="9510053" cy="1149155"/>
          </a:xfrm>
          <a:prstGeom prst="roundRect">
            <a:avLst/>
          </a:prstGeom>
          <a:gradFill flip="none" rotWithShape="1">
            <a:gsLst>
              <a:gs pos="0">
                <a:schemeClr val="accent2"/>
              </a:gs>
              <a:gs pos="53000">
                <a:srgbClr val="F2A36E"/>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872657" y="162454"/>
            <a:ext cx="5067414" cy="1446550"/>
          </a:xfrm>
          <a:prstGeom prst="rect">
            <a:avLst/>
          </a:prstGeom>
          <a:noFill/>
        </p:spPr>
        <p:txBody>
          <a:bodyPr wrap="none" lIns="91440" tIns="45720" rIns="91440" bIns="45720">
            <a:spAutoFit/>
          </a:bodyPr>
          <a:lstStyle/>
          <a:p>
            <a:pPr algn="ctr"/>
            <a:r>
              <a:rPr lang="en-US" sz="8800" b="1" cap="none" spc="0" dirty="0" smtClean="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rPr>
              <a:t>SELENIUM IDE</a:t>
            </a:r>
            <a:endParaRPr lang="en-US" sz="8800" b="1" cap="none" spc="0" dirty="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endParaRPr>
          </a:p>
        </p:txBody>
      </p:sp>
      <p:sp>
        <p:nvSpPr>
          <p:cNvPr id="7" name="TextBox 6"/>
          <p:cNvSpPr txBox="1"/>
          <p:nvPr/>
        </p:nvSpPr>
        <p:spPr>
          <a:xfrm>
            <a:off x="4662774" y="2068274"/>
            <a:ext cx="7357776" cy="3170099"/>
          </a:xfrm>
          <a:prstGeom prst="rect">
            <a:avLst/>
          </a:prstGeom>
          <a:noFill/>
        </p:spPr>
        <p:txBody>
          <a:bodyPr wrap="square" rtlCol="0">
            <a:spAutoFit/>
          </a:bodyPr>
          <a:lstStyle/>
          <a:p>
            <a:pPr algn="just"/>
            <a:r>
              <a:rPr lang="en-US" sz="4000" dirty="0">
                <a:latin typeface="DilleniaUPC" panose="02020603050405020304" pitchFamily="18" charset="-34"/>
                <a:cs typeface="DilleniaUPC" panose="02020603050405020304" pitchFamily="18" charset="-34"/>
              </a:rPr>
              <a:t>The Selenium-IDE (Integrated Development Environment) is the tool you use to develop your Selenium test cases. It’s an easy-to-use Firefox plug-in and is generally the most efficient way to develop test cases.</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6276" y="1543050"/>
            <a:ext cx="4105848" cy="5249008"/>
          </a:xfrm>
          <a:prstGeom prst="rect">
            <a:avLst/>
          </a:prstGeom>
        </p:spPr>
      </p:pic>
    </p:spTree>
    <p:extLst>
      <p:ext uri="{BB962C8B-B14F-4D97-AF65-F5344CB8AC3E}">
        <p14:creationId xmlns:p14="http://schemas.microsoft.com/office/powerpoint/2010/main" val="6854505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F8CBAD"/>
        </a:solidFill>
        <a:effectLst/>
      </p:bgPr>
    </p:bg>
    <p:spTree>
      <p:nvGrpSpPr>
        <p:cNvPr id="1" name=""/>
        <p:cNvGrpSpPr/>
        <p:nvPr/>
      </p:nvGrpSpPr>
      <p:grpSpPr>
        <a:xfrm>
          <a:off x="0" y="0"/>
          <a:ext cx="0" cy="0"/>
          <a:chOff x="0" y="0"/>
          <a:chExt cx="0" cy="0"/>
        </a:xfrm>
      </p:grpSpPr>
      <p:sp>
        <p:nvSpPr>
          <p:cNvPr id="4" name="Rounded Rectangle 3"/>
          <p:cNvSpPr/>
          <p:nvPr/>
        </p:nvSpPr>
        <p:spPr>
          <a:xfrm>
            <a:off x="1651338" y="311152"/>
            <a:ext cx="9510053" cy="1149155"/>
          </a:xfrm>
          <a:prstGeom prst="roundRect">
            <a:avLst/>
          </a:prstGeom>
          <a:gradFill flip="none" rotWithShape="1">
            <a:gsLst>
              <a:gs pos="0">
                <a:schemeClr val="accent2"/>
              </a:gs>
              <a:gs pos="53000">
                <a:srgbClr val="F2A36E"/>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1640617" y="381705"/>
            <a:ext cx="9442200" cy="1015663"/>
          </a:xfrm>
          <a:prstGeom prst="rect">
            <a:avLst/>
          </a:prstGeom>
          <a:noFill/>
        </p:spPr>
        <p:txBody>
          <a:bodyPr wrap="none" lIns="91440" tIns="45720" rIns="91440" bIns="45720">
            <a:spAutoFit/>
          </a:bodyPr>
          <a:lstStyle/>
          <a:p>
            <a:pPr algn="ctr"/>
            <a:r>
              <a:rPr lang="en-US" sz="6000" b="1" cap="none" spc="0" dirty="0" smtClean="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rPr>
              <a:t>SELENIUM IDE TOOLBAR</a:t>
            </a:r>
            <a:endParaRPr lang="en-US" sz="6000" b="1" cap="none" spc="0" dirty="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9443" y="1726593"/>
            <a:ext cx="641174" cy="641174"/>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0164" y="2636193"/>
            <a:ext cx="641174" cy="641174"/>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9443" y="3469593"/>
            <a:ext cx="641174" cy="641174"/>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443" y="4341093"/>
            <a:ext cx="929703" cy="641174"/>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9442" y="5269769"/>
            <a:ext cx="929703" cy="641174"/>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0164" y="6141269"/>
            <a:ext cx="2116437" cy="601260"/>
          </a:xfrm>
          <a:prstGeom prst="rect">
            <a:avLst/>
          </a:prstGeom>
        </p:spPr>
      </p:pic>
      <p:sp>
        <p:nvSpPr>
          <p:cNvPr id="14" name="TextBox 13"/>
          <p:cNvSpPr txBox="1"/>
          <p:nvPr/>
        </p:nvSpPr>
        <p:spPr>
          <a:xfrm>
            <a:off x="1817246" y="1757702"/>
            <a:ext cx="8152254" cy="461665"/>
          </a:xfrm>
          <a:prstGeom prst="rect">
            <a:avLst/>
          </a:prstGeom>
          <a:noFill/>
        </p:spPr>
        <p:txBody>
          <a:bodyPr wrap="square" rtlCol="0">
            <a:spAutoFit/>
          </a:bodyPr>
          <a:lstStyle/>
          <a:p>
            <a:r>
              <a:rPr lang="en-US" sz="2400" b="1" dirty="0">
                <a:latin typeface="DilleniaUPC" panose="02020603050405020304" pitchFamily="18" charset="-34"/>
                <a:cs typeface="DilleniaUPC" panose="02020603050405020304" pitchFamily="18" charset="-34"/>
              </a:rPr>
              <a:t>Record</a:t>
            </a:r>
            <a:r>
              <a:rPr lang="en-US" sz="2400" dirty="0">
                <a:latin typeface="DilleniaUPC" panose="02020603050405020304" pitchFamily="18" charset="-34"/>
                <a:cs typeface="DilleniaUPC" panose="02020603050405020304" pitchFamily="18" charset="-34"/>
              </a:rPr>
              <a:t>: Records the user’s browser actions.</a:t>
            </a:r>
          </a:p>
        </p:txBody>
      </p:sp>
      <p:sp>
        <p:nvSpPr>
          <p:cNvPr id="15" name="TextBox 14"/>
          <p:cNvSpPr txBox="1"/>
          <p:nvPr/>
        </p:nvSpPr>
        <p:spPr>
          <a:xfrm>
            <a:off x="1836296" y="2422428"/>
            <a:ext cx="10317604" cy="830997"/>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400" b="1" dirty="0"/>
              <a:t>Step</a:t>
            </a:r>
            <a:r>
              <a:rPr lang="en-US" sz="2400" dirty="0"/>
              <a:t>: Allows you to “step” through a test case by running it one command at a time. Use for debugging test cases.</a:t>
            </a:r>
          </a:p>
        </p:txBody>
      </p:sp>
      <p:sp>
        <p:nvSpPr>
          <p:cNvPr id="16" name="TextBox 15"/>
          <p:cNvSpPr txBox="1"/>
          <p:nvPr/>
        </p:nvSpPr>
        <p:spPr>
          <a:xfrm>
            <a:off x="1874396" y="3512468"/>
            <a:ext cx="10464462" cy="461665"/>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400" b="1" dirty="0"/>
              <a:t>Pause/Resume</a:t>
            </a:r>
            <a:r>
              <a:rPr lang="en-US" sz="2400" dirty="0"/>
              <a:t>: Allows stopping and re-starting of a running test case.</a:t>
            </a:r>
          </a:p>
        </p:txBody>
      </p:sp>
      <p:sp>
        <p:nvSpPr>
          <p:cNvPr id="17" name="TextBox 16"/>
          <p:cNvSpPr txBox="1"/>
          <p:nvPr/>
        </p:nvSpPr>
        <p:spPr>
          <a:xfrm>
            <a:off x="1929144" y="4178792"/>
            <a:ext cx="10224755" cy="830997"/>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400" b="1" dirty="0"/>
              <a:t>Run</a:t>
            </a:r>
            <a:r>
              <a:rPr lang="en-US" sz="2400" dirty="0"/>
              <a:t>: Runs the currently selected test. When only a single test is loaded this button and the Run All button have the same effect.</a:t>
            </a:r>
          </a:p>
        </p:txBody>
      </p:sp>
      <p:sp>
        <p:nvSpPr>
          <p:cNvPr id="18" name="TextBox 17"/>
          <p:cNvSpPr txBox="1"/>
          <p:nvPr/>
        </p:nvSpPr>
        <p:spPr>
          <a:xfrm>
            <a:off x="1929144" y="5336068"/>
            <a:ext cx="10262855" cy="830997"/>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400" b="1" dirty="0"/>
              <a:t>Run All</a:t>
            </a:r>
            <a:r>
              <a:rPr lang="en-US" sz="2400" dirty="0"/>
              <a:t>: Runs the entire test suite when a test suite with multiple test cases is loaded.</a:t>
            </a:r>
          </a:p>
        </p:txBody>
      </p:sp>
      <p:sp>
        <p:nvSpPr>
          <p:cNvPr id="19" name="TextBox 18"/>
          <p:cNvSpPr txBox="1"/>
          <p:nvPr/>
        </p:nvSpPr>
        <p:spPr>
          <a:xfrm>
            <a:off x="3126601" y="6157754"/>
            <a:ext cx="9027298" cy="461665"/>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400" b="1" dirty="0"/>
              <a:t>Speed Control</a:t>
            </a:r>
            <a:r>
              <a:rPr lang="en-US" sz="2400" dirty="0"/>
              <a:t>: controls how fast your test case runs.</a:t>
            </a:r>
          </a:p>
        </p:txBody>
      </p:sp>
    </p:spTree>
    <p:extLst>
      <p:ext uri="{BB962C8B-B14F-4D97-AF65-F5344CB8AC3E}">
        <p14:creationId xmlns:p14="http://schemas.microsoft.com/office/powerpoint/2010/main" val="41477837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F8CBAD"/>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253162" y="180975"/>
            <a:ext cx="5553075" cy="6677025"/>
          </a:xfrm>
          <a:prstGeom prst="rect">
            <a:avLst/>
          </a:prstGeom>
        </p:spPr>
      </p:pic>
      <p:pic>
        <p:nvPicPr>
          <p:cNvPr id="6" name="Picture 5"/>
          <p:cNvPicPr>
            <a:picLocks noChangeAspect="1"/>
          </p:cNvPicPr>
          <p:nvPr/>
        </p:nvPicPr>
        <p:blipFill>
          <a:blip r:embed="rId3"/>
          <a:stretch>
            <a:fillRect/>
          </a:stretch>
        </p:blipFill>
        <p:spPr>
          <a:xfrm>
            <a:off x="447675" y="209550"/>
            <a:ext cx="5543550" cy="6648450"/>
          </a:xfrm>
          <a:prstGeom prst="rect">
            <a:avLst/>
          </a:prstGeom>
        </p:spPr>
      </p:pic>
    </p:spTree>
    <p:extLst>
      <p:ext uri="{BB962C8B-B14F-4D97-AF65-F5344CB8AC3E}">
        <p14:creationId xmlns:p14="http://schemas.microsoft.com/office/powerpoint/2010/main" val="27804031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rgbClr val="F8CBAD"/>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9981" y="1771650"/>
            <a:ext cx="12052038" cy="4762500"/>
          </a:xfrm>
          <a:prstGeom prst="rect">
            <a:avLst/>
          </a:prstGeom>
          <a:ln>
            <a:solidFill>
              <a:schemeClr val="tx1"/>
            </a:solidFill>
          </a:ln>
        </p:spPr>
      </p:pic>
      <p:sp>
        <p:nvSpPr>
          <p:cNvPr id="5" name="Rounded Rectangle 4"/>
          <p:cNvSpPr/>
          <p:nvPr/>
        </p:nvSpPr>
        <p:spPr>
          <a:xfrm>
            <a:off x="517338" y="311152"/>
            <a:ext cx="11168454" cy="1149155"/>
          </a:xfrm>
          <a:prstGeom prst="roundRect">
            <a:avLst/>
          </a:prstGeom>
          <a:gradFill flip="none" rotWithShape="1">
            <a:gsLst>
              <a:gs pos="0">
                <a:schemeClr val="accent2"/>
              </a:gs>
              <a:gs pos="53000">
                <a:srgbClr val="F2A36E"/>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10427" y="470230"/>
            <a:ext cx="10971145" cy="923330"/>
          </a:xfrm>
          <a:prstGeom prst="rect">
            <a:avLst/>
          </a:prstGeom>
          <a:noFill/>
        </p:spPr>
        <p:txBody>
          <a:bodyPr wrap="none" lIns="91440" tIns="45720" rIns="91440" bIns="45720">
            <a:spAutoFit/>
          </a:bodyPr>
          <a:lstStyle/>
          <a:p>
            <a:pPr algn="ctr"/>
            <a:r>
              <a:rPr lang="en-US" sz="5400" b="1" cap="none" spc="0" dirty="0" smtClean="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rPr>
              <a:t>EXPORTED TEST SUITE RESULTS</a:t>
            </a:r>
            <a:endParaRPr lang="en-US" sz="5400" b="1" cap="none" spc="0" dirty="0">
              <a:ln w="0"/>
              <a:solidFill>
                <a:schemeClr val="tx1"/>
              </a:solidFill>
              <a:effectLst>
                <a:outerShdw blurRad="38100" dist="19050" dir="2700000" algn="tl" rotWithShape="0">
                  <a:schemeClr val="dk1">
                    <a:alpha val="40000"/>
                  </a:schemeClr>
                </a:outerShdw>
              </a:effectLst>
              <a:latin typeface="DilleniaUPC" panose="02020603050405020304" pitchFamily="18" charset="-34"/>
              <a:cs typeface="DilleniaUPC" panose="02020603050405020304" pitchFamily="18" charset="-34"/>
            </a:endParaRPr>
          </a:p>
        </p:txBody>
      </p:sp>
    </p:spTree>
    <p:extLst>
      <p:ext uri="{BB962C8B-B14F-4D97-AF65-F5344CB8AC3E}">
        <p14:creationId xmlns:p14="http://schemas.microsoft.com/office/powerpoint/2010/main" val="3223244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18B4BFBE44CB4787AA86045C9A6063" ma:contentTypeVersion="4" ma:contentTypeDescription="Create a new document." ma:contentTypeScope="" ma:versionID="93c073b2831897a25c38aba55839d647">
  <xsd:schema xmlns:xsd="http://www.w3.org/2001/XMLSchema" xmlns:xs="http://www.w3.org/2001/XMLSchema" xmlns:p="http://schemas.microsoft.com/office/2006/metadata/properties" xmlns:ns2="9b901641-0d09-466e-84cb-a5070d83a351" targetNamespace="http://schemas.microsoft.com/office/2006/metadata/properties" ma:root="true" ma:fieldsID="cab2147e73551688624eae5917c4a057" ns2:_="">
    <xsd:import namespace="9b901641-0d09-466e-84cb-a5070d83a351"/>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901641-0d09-466e-84cb-a5070d83a35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F1E0440-9AA4-40A5-B940-0C705CF422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901641-0d09-466e-84cb-a5070d83a3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0D4BD2-ED61-4E0E-A356-900438B485B6}">
  <ds:schemaRefs>
    <ds:schemaRef ds:uri="http://schemas.microsoft.com/sharepoint/v3/contenttype/forms"/>
  </ds:schemaRefs>
</ds:datastoreItem>
</file>

<file path=customXml/itemProps3.xml><?xml version="1.0" encoding="utf-8"?>
<ds:datastoreItem xmlns:ds="http://schemas.openxmlformats.org/officeDocument/2006/customXml" ds:itemID="{2B1767CB-53F1-4D4E-ACA1-3B04C41933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916</TotalTime>
  <Words>445</Words>
  <Application>Microsoft Office PowerPoint</Application>
  <PresentationFormat>Widescreen</PresentationFormat>
  <Paragraphs>70</Paragraphs>
  <Slides>14</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5" baseType="lpstr">
      <vt:lpstr>Andalus</vt:lpstr>
      <vt:lpstr>Arial</vt:lpstr>
      <vt:lpstr>Britannic Bold</vt:lpstr>
      <vt:lpstr>Calibri</vt:lpstr>
      <vt:lpstr>Calibri Light</vt:lpstr>
      <vt:lpstr>Courier New</vt:lpstr>
      <vt:lpstr>DilleniaUPC</vt:lpstr>
      <vt:lpstr>Gill Sans Ultra Bold Condensed</vt:lpstr>
      <vt:lpstr>Imprint MT Shadow</vt:lpstr>
      <vt:lpstr>Office Theme</vt:lpstr>
      <vt:lpstr>think-cell Slide</vt:lpstr>
      <vt:lpstr>Seleniu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randa, John Paul S.</dc:creator>
  <cp:lastModifiedBy>Diao, Mark Klifford B.</cp:lastModifiedBy>
  <cp:revision>46</cp:revision>
  <dcterms:created xsi:type="dcterms:W3CDTF">2015-09-23T05:57:58Z</dcterms:created>
  <dcterms:modified xsi:type="dcterms:W3CDTF">2017-03-07T00:3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18B4BFBE44CB4787AA86045C9A6063</vt:lpwstr>
  </property>
</Properties>
</file>